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9" r:id="rId4"/>
    <p:sldMasterId id="2147483716" r:id="rId5"/>
    <p:sldMasterId id="2147483733" r:id="rId6"/>
    <p:sldMasterId id="2147483697" r:id="rId7"/>
  </p:sldMasterIdLst>
  <p:notesMasterIdLst>
    <p:notesMasterId r:id="rId17"/>
  </p:notesMasterIdLst>
  <p:handoutMasterIdLst>
    <p:handoutMasterId r:id="rId18"/>
  </p:handoutMasterIdLst>
  <p:sldIdLst>
    <p:sldId id="1784" r:id="rId8"/>
    <p:sldId id="1782" r:id="rId9"/>
    <p:sldId id="1772" r:id="rId10"/>
    <p:sldId id="1778" r:id="rId11"/>
    <p:sldId id="1773" r:id="rId12"/>
    <p:sldId id="1774" r:id="rId13"/>
    <p:sldId id="1775" r:id="rId14"/>
    <p:sldId id="1777" r:id="rId15"/>
    <p:sldId id="1795" r:id="rId16"/>
  </p:sldIdLst>
  <p:sldSz cx="9144000" cy="5143500" type="screen16x9"/>
  <p:notesSz cx="6858000" cy="9144000"/>
  <p:custDataLst>
    <p:tags r:id="rId19"/>
  </p:custDataLst>
  <p:defaultTex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mith, Nicola (ESI)" initials="SN(" lastIdx="1" clrIdx="0">
    <p:extLst>
      <p:ext uri="{19B8F6BF-5375-455C-9EA6-DF929625EA0E}">
        <p15:presenceInfo xmlns:p15="http://schemas.microsoft.com/office/powerpoint/2012/main" userId="Smith, Nicola (E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9708"/>
    <a:srgbClr val="FAC8BF"/>
    <a:srgbClr val="FFFFFF"/>
    <a:srgbClr val="7D35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ED7F9D-418E-3E4C-AF82-B8017DF5D18A}" v="66" dt="2020-03-20T14:09:50.964"/>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637" autoAdjust="0"/>
    <p:restoredTop sz="72111" autoAdjust="0"/>
  </p:normalViewPr>
  <p:slideViewPr>
    <p:cSldViewPr snapToGrid="0" snapToObjects="1">
      <p:cViewPr varScale="1">
        <p:scale>
          <a:sx n="131" d="100"/>
          <a:sy n="131" d="100"/>
        </p:scale>
        <p:origin x="368" y="184"/>
      </p:cViewPr>
      <p:guideLst>
        <p:guide pos="2880"/>
        <p:guide orient="horz" pos="1620"/>
      </p:guideLst>
    </p:cSldViewPr>
  </p:slideViewPr>
  <p:notesTextViewPr>
    <p:cViewPr>
      <p:scale>
        <a:sx n="3" d="2"/>
        <a:sy n="3" d="2"/>
      </p:scale>
      <p:origin x="0" y="0"/>
    </p:cViewPr>
  </p:notesTextViewPr>
  <p:sorterViewPr>
    <p:cViewPr>
      <p:scale>
        <a:sx n="100" d="100"/>
        <a:sy n="100" d="100"/>
      </p:scale>
      <p:origin x="0" y="-3384"/>
    </p:cViewPr>
  </p:sorterViewPr>
  <p:notesViewPr>
    <p:cSldViewPr snapToGrid="0" snapToObjects="1">
      <p:cViewPr varScale="1">
        <p:scale>
          <a:sx n="80" d="100"/>
          <a:sy n="80" d="100"/>
        </p:scale>
        <p:origin x="3066"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 Rampat" userId="6ea9038c-90ec-4a88-a42d-b3b3f1cac3bd" providerId="ADAL" clId="{CEED7F9D-418E-3E4C-AF82-B8017DF5D18A}"/>
    <pc:docChg chg="undo custSel addSld delSld modSld sldOrd delMainMaster modMainMaster">
      <pc:chgData name="Andre Rampat" userId="6ea9038c-90ec-4a88-a42d-b3b3f1cac3bd" providerId="ADAL" clId="{CEED7F9D-418E-3E4C-AF82-B8017DF5D18A}" dt="2020-03-20T14:09:12.897" v="565" actId="2696"/>
      <pc:docMkLst>
        <pc:docMk/>
      </pc:docMkLst>
      <pc:sldChg chg="addSp delSp modSp add del">
        <pc:chgData name="Andre Rampat" userId="6ea9038c-90ec-4a88-a42d-b3b3f1cac3bd" providerId="ADAL" clId="{CEED7F9D-418E-3E4C-AF82-B8017DF5D18A}" dt="2020-03-20T14:08:01.875" v="534" actId="2696"/>
        <pc:sldMkLst>
          <pc:docMk/>
          <pc:sldMk cId="2543621723" sldId="401"/>
        </pc:sldMkLst>
        <pc:spChg chg="add mod">
          <ac:chgData name="Andre Rampat" userId="6ea9038c-90ec-4a88-a42d-b3b3f1cac3bd" providerId="ADAL" clId="{CEED7F9D-418E-3E4C-AF82-B8017DF5D18A}" dt="2020-03-16T08:47:45.238" v="50" actId="20577"/>
          <ac:spMkLst>
            <pc:docMk/>
            <pc:sldMk cId="2543621723" sldId="401"/>
            <ac:spMk id="2" creationId="{B13C1DC8-2E6A-BA4F-BE4A-69A1A120AC46}"/>
          </ac:spMkLst>
        </pc:spChg>
        <pc:spChg chg="del mod">
          <ac:chgData name="Andre Rampat" userId="6ea9038c-90ec-4a88-a42d-b3b3f1cac3bd" providerId="ADAL" clId="{CEED7F9D-418E-3E4C-AF82-B8017DF5D18A}" dt="2020-03-16T08:47:17.239" v="42" actId="478"/>
          <ac:spMkLst>
            <pc:docMk/>
            <pc:sldMk cId="2543621723" sldId="401"/>
            <ac:spMk id="9" creationId="{E2D90316-5DAB-A84E-B7AA-1BBACD3A8B55}"/>
          </ac:spMkLst>
        </pc:spChg>
        <pc:picChg chg="add del mod">
          <ac:chgData name="Andre Rampat" userId="6ea9038c-90ec-4a88-a42d-b3b3f1cac3bd" providerId="ADAL" clId="{CEED7F9D-418E-3E4C-AF82-B8017DF5D18A}" dt="2020-03-16T08:28:10.286" v="9" actId="478"/>
          <ac:picMkLst>
            <pc:docMk/>
            <pc:sldMk cId="2543621723" sldId="401"/>
            <ac:picMk id="4" creationId="{F35AF46A-2BFD-7243-8D05-20B9792379DA}"/>
          </ac:picMkLst>
        </pc:picChg>
        <pc:picChg chg="add del mod modCrop">
          <ac:chgData name="Andre Rampat" userId="6ea9038c-90ec-4a88-a42d-b3b3f1cac3bd" providerId="ADAL" clId="{CEED7F9D-418E-3E4C-AF82-B8017DF5D18A}" dt="2020-03-16T08:46:16.416" v="33" actId="478"/>
          <ac:picMkLst>
            <pc:docMk/>
            <pc:sldMk cId="2543621723" sldId="401"/>
            <ac:picMk id="6" creationId="{DEEDEEF8-40EE-094D-898A-99B92E885620}"/>
          </ac:picMkLst>
        </pc:picChg>
        <pc:picChg chg="add mod">
          <ac:chgData name="Andre Rampat" userId="6ea9038c-90ec-4a88-a42d-b3b3f1cac3bd" providerId="ADAL" clId="{CEED7F9D-418E-3E4C-AF82-B8017DF5D18A}" dt="2020-03-16T08:47:08.249" v="40" actId="1076"/>
          <ac:picMkLst>
            <pc:docMk/>
            <pc:sldMk cId="2543621723" sldId="401"/>
            <ac:picMk id="8" creationId="{3ADD8827-2591-AB4A-8580-27BDCD40A2CA}"/>
          </ac:picMkLst>
        </pc:picChg>
        <pc:picChg chg="mod modCrop">
          <ac:chgData name="Andre Rampat" userId="6ea9038c-90ec-4a88-a42d-b3b3f1cac3bd" providerId="ADAL" clId="{CEED7F9D-418E-3E4C-AF82-B8017DF5D18A}" dt="2020-03-16T08:46:52.500" v="38" actId="732"/>
          <ac:picMkLst>
            <pc:docMk/>
            <pc:sldMk cId="2543621723" sldId="401"/>
            <ac:picMk id="16" creationId="{BF53FCD8-6AE5-3F4E-A391-9A67CA94A3E8}"/>
          </ac:picMkLst>
        </pc:picChg>
      </pc:sldChg>
      <pc:sldChg chg="del mod modShow">
        <pc:chgData name="Andre Rampat" userId="6ea9038c-90ec-4a88-a42d-b3b3f1cac3bd" providerId="ADAL" clId="{CEED7F9D-418E-3E4C-AF82-B8017DF5D18A}" dt="2020-03-16T11:37:11.233" v="533" actId="2696"/>
        <pc:sldMkLst>
          <pc:docMk/>
          <pc:sldMk cId="1315288693" sldId="989"/>
        </pc:sldMkLst>
      </pc:sldChg>
      <pc:sldChg chg="del">
        <pc:chgData name="Andre Rampat" userId="6ea9038c-90ec-4a88-a42d-b3b3f1cac3bd" providerId="ADAL" clId="{CEED7F9D-418E-3E4C-AF82-B8017DF5D18A}" dt="2020-03-20T14:08:13.229" v="544" actId="2696"/>
        <pc:sldMkLst>
          <pc:docMk/>
          <pc:sldMk cId="1903117782" sldId="1029"/>
        </pc:sldMkLst>
      </pc:sldChg>
      <pc:sldChg chg="del">
        <pc:chgData name="Andre Rampat" userId="6ea9038c-90ec-4a88-a42d-b3b3f1cac3bd" providerId="ADAL" clId="{CEED7F9D-418E-3E4C-AF82-B8017DF5D18A}" dt="2020-03-20T14:08:13.234" v="545" actId="2696"/>
        <pc:sldMkLst>
          <pc:docMk/>
          <pc:sldMk cId="516598015" sldId="1041"/>
        </pc:sldMkLst>
      </pc:sldChg>
      <pc:sldChg chg="del">
        <pc:chgData name="Andre Rampat" userId="6ea9038c-90ec-4a88-a42d-b3b3f1cac3bd" providerId="ADAL" clId="{CEED7F9D-418E-3E4C-AF82-B8017DF5D18A}" dt="2020-03-20T14:08:13.241" v="546" actId="2696"/>
        <pc:sldMkLst>
          <pc:docMk/>
          <pc:sldMk cId="941841339" sldId="1063"/>
        </pc:sldMkLst>
      </pc:sldChg>
      <pc:sldChg chg="addSp delSp del">
        <pc:chgData name="Andre Rampat" userId="6ea9038c-90ec-4a88-a42d-b3b3f1cac3bd" providerId="ADAL" clId="{CEED7F9D-418E-3E4C-AF82-B8017DF5D18A}" dt="2020-03-16T09:12:58.482" v="96" actId="2696"/>
        <pc:sldMkLst>
          <pc:docMk/>
          <pc:sldMk cId="4096568515" sldId="1097"/>
        </pc:sldMkLst>
        <pc:spChg chg="add del">
          <ac:chgData name="Andre Rampat" userId="6ea9038c-90ec-4a88-a42d-b3b3f1cac3bd" providerId="ADAL" clId="{CEED7F9D-418E-3E4C-AF82-B8017DF5D18A}" dt="2020-03-16T09:12:36.059" v="95" actId="478"/>
          <ac:spMkLst>
            <pc:docMk/>
            <pc:sldMk cId="4096568515" sldId="1097"/>
            <ac:spMk id="2" creationId="{D120CD99-91AC-4972-A2D1-B3BCC274D95D}"/>
          </ac:spMkLst>
        </pc:spChg>
      </pc:sldChg>
      <pc:sldChg chg="del">
        <pc:chgData name="Andre Rampat" userId="6ea9038c-90ec-4a88-a42d-b3b3f1cac3bd" providerId="ADAL" clId="{CEED7F9D-418E-3E4C-AF82-B8017DF5D18A}" dt="2020-03-16T11:25:52.886" v="529" actId="2696"/>
        <pc:sldMkLst>
          <pc:docMk/>
          <pc:sldMk cId="1009911567" sldId="1103"/>
        </pc:sldMkLst>
      </pc:sldChg>
      <pc:sldChg chg="del mod modShow">
        <pc:chgData name="Andre Rampat" userId="6ea9038c-90ec-4a88-a42d-b3b3f1cac3bd" providerId="ADAL" clId="{CEED7F9D-418E-3E4C-AF82-B8017DF5D18A}" dt="2020-03-16T11:37:10.280" v="532" actId="2696"/>
        <pc:sldMkLst>
          <pc:docMk/>
          <pc:sldMk cId="3358444709" sldId="1104"/>
        </pc:sldMkLst>
      </pc:sldChg>
      <pc:sldChg chg="del">
        <pc:chgData name="Andre Rampat" userId="6ea9038c-90ec-4a88-a42d-b3b3f1cac3bd" providerId="ADAL" clId="{CEED7F9D-418E-3E4C-AF82-B8017DF5D18A}" dt="2020-03-20T14:08:08.052" v="541" actId="2696"/>
        <pc:sldMkLst>
          <pc:docMk/>
          <pc:sldMk cId="2000408236" sldId="1196"/>
        </pc:sldMkLst>
      </pc:sldChg>
      <pc:sldChg chg="del">
        <pc:chgData name="Andre Rampat" userId="6ea9038c-90ec-4a88-a42d-b3b3f1cac3bd" providerId="ADAL" clId="{CEED7F9D-418E-3E4C-AF82-B8017DF5D18A}" dt="2020-03-20T14:08:08.033" v="539" actId="2696"/>
        <pc:sldMkLst>
          <pc:docMk/>
          <pc:sldMk cId="1233817314" sldId="1208"/>
        </pc:sldMkLst>
      </pc:sldChg>
      <pc:sldChg chg="del">
        <pc:chgData name="Andre Rampat" userId="6ea9038c-90ec-4a88-a42d-b3b3f1cac3bd" providerId="ADAL" clId="{CEED7F9D-418E-3E4C-AF82-B8017DF5D18A}" dt="2020-03-20T14:08:08.041" v="540" actId="2696"/>
        <pc:sldMkLst>
          <pc:docMk/>
          <pc:sldMk cId="269371029" sldId="1209"/>
        </pc:sldMkLst>
      </pc:sldChg>
      <pc:sldChg chg="del">
        <pc:chgData name="Andre Rampat" userId="6ea9038c-90ec-4a88-a42d-b3b3f1cac3bd" providerId="ADAL" clId="{CEED7F9D-418E-3E4C-AF82-B8017DF5D18A}" dt="2020-03-20T14:08:08.024" v="538" actId="2696"/>
        <pc:sldMkLst>
          <pc:docMk/>
          <pc:sldMk cId="2828638720" sldId="1255"/>
        </pc:sldMkLst>
      </pc:sldChg>
      <pc:sldChg chg="delSp modSp del ord modAnim">
        <pc:chgData name="Andre Rampat" userId="6ea9038c-90ec-4a88-a42d-b3b3f1cac3bd" providerId="ADAL" clId="{CEED7F9D-418E-3E4C-AF82-B8017DF5D18A}" dt="2020-03-16T09:21:10.361" v="147" actId="2696"/>
        <pc:sldMkLst>
          <pc:docMk/>
          <pc:sldMk cId="1500144317" sldId="1256"/>
        </pc:sldMkLst>
        <pc:spChg chg="del">
          <ac:chgData name="Andre Rampat" userId="6ea9038c-90ec-4a88-a42d-b3b3f1cac3bd" providerId="ADAL" clId="{CEED7F9D-418E-3E4C-AF82-B8017DF5D18A}" dt="2020-03-16T09:14:44.325" v="110" actId="478"/>
          <ac:spMkLst>
            <pc:docMk/>
            <pc:sldMk cId="1500144317" sldId="1256"/>
            <ac:spMk id="2" creationId="{C5D75CC5-66D4-426C-B21B-D65DED88706F}"/>
          </ac:spMkLst>
        </pc:spChg>
        <pc:spChg chg="mod">
          <ac:chgData name="Andre Rampat" userId="6ea9038c-90ec-4a88-a42d-b3b3f1cac3bd" providerId="ADAL" clId="{CEED7F9D-418E-3E4C-AF82-B8017DF5D18A}" dt="2020-03-16T09:15:04.400" v="111" actId="6549"/>
          <ac:spMkLst>
            <pc:docMk/>
            <pc:sldMk cId="1500144317" sldId="1256"/>
            <ac:spMk id="4" creationId="{00000000-0000-0000-0000-000000000000}"/>
          </ac:spMkLst>
        </pc:spChg>
      </pc:sldChg>
      <pc:sldChg chg="del">
        <pc:chgData name="Andre Rampat" userId="6ea9038c-90ec-4a88-a42d-b3b3f1cac3bd" providerId="ADAL" clId="{CEED7F9D-418E-3E4C-AF82-B8017DF5D18A}" dt="2020-03-20T14:08:13.248" v="547" actId="2696"/>
        <pc:sldMkLst>
          <pc:docMk/>
          <pc:sldMk cId="824256276" sldId="1258"/>
        </pc:sldMkLst>
      </pc:sldChg>
      <pc:sldChg chg="modSp del">
        <pc:chgData name="Andre Rampat" userId="6ea9038c-90ec-4a88-a42d-b3b3f1cac3bd" providerId="ADAL" clId="{CEED7F9D-418E-3E4C-AF82-B8017DF5D18A}" dt="2020-03-16T09:39:13.665" v="494" actId="2696"/>
        <pc:sldMkLst>
          <pc:docMk/>
          <pc:sldMk cId="2783727626" sldId="1781"/>
        </pc:sldMkLst>
        <pc:spChg chg="mod">
          <ac:chgData name="Andre Rampat" userId="6ea9038c-90ec-4a88-a42d-b3b3f1cac3bd" providerId="ADAL" clId="{CEED7F9D-418E-3E4C-AF82-B8017DF5D18A}" dt="2020-03-16T08:55:04.479" v="54" actId="1076"/>
          <ac:spMkLst>
            <pc:docMk/>
            <pc:sldMk cId="2783727626" sldId="1781"/>
            <ac:spMk id="18" creationId="{8A5CAFF1-2621-4A1B-BB22-0D3C4DC3B0E9}"/>
          </ac:spMkLst>
        </pc:spChg>
      </pc:sldChg>
      <pc:sldChg chg="delSp ord">
        <pc:chgData name="Andre Rampat" userId="6ea9038c-90ec-4a88-a42d-b3b3f1cac3bd" providerId="ADAL" clId="{CEED7F9D-418E-3E4C-AF82-B8017DF5D18A}" dt="2020-03-16T08:48:06.862" v="51"/>
        <pc:sldMkLst>
          <pc:docMk/>
          <pc:sldMk cId="1609513254" sldId="1784"/>
        </pc:sldMkLst>
        <pc:spChg chg="del">
          <ac:chgData name="Andre Rampat" userId="6ea9038c-90ec-4a88-a42d-b3b3f1cac3bd" providerId="ADAL" clId="{CEED7F9D-418E-3E4C-AF82-B8017DF5D18A}" dt="2020-03-16T08:22:18.689" v="1" actId="478"/>
          <ac:spMkLst>
            <pc:docMk/>
            <pc:sldMk cId="1609513254" sldId="1784"/>
            <ac:spMk id="12" creationId="{FEEFE587-13E4-4E67-8234-C06A3C8698BC}"/>
          </ac:spMkLst>
        </pc:spChg>
      </pc:sldChg>
      <pc:sldChg chg="del">
        <pc:chgData name="Andre Rampat" userId="6ea9038c-90ec-4a88-a42d-b3b3f1cac3bd" providerId="ADAL" clId="{CEED7F9D-418E-3E4C-AF82-B8017DF5D18A}" dt="2020-03-16T09:36:24.682" v="471" actId="2696"/>
        <pc:sldMkLst>
          <pc:docMk/>
          <pc:sldMk cId="222871988" sldId="1785"/>
        </pc:sldMkLst>
      </pc:sldChg>
      <pc:sldChg chg="modSp add del ord">
        <pc:chgData name="Andre Rampat" userId="6ea9038c-90ec-4a88-a42d-b3b3f1cac3bd" providerId="ADAL" clId="{CEED7F9D-418E-3E4C-AF82-B8017DF5D18A}" dt="2020-03-20T14:08:13.262" v="560" actId="2696"/>
        <pc:sldMkLst>
          <pc:docMk/>
          <pc:sldMk cId="2133125074" sldId="1786"/>
        </pc:sldMkLst>
        <pc:spChg chg="mod">
          <ac:chgData name="Andre Rampat" userId="6ea9038c-90ec-4a88-a42d-b3b3f1cac3bd" providerId="ADAL" clId="{CEED7F9D-418E-3E4C-AF82-B8017DF5D18A}" dt="2020-03-16T09:15:08.485" v="112" actId="20577"/>
          <ac:spMkLst>
            <pc:docMk/>
            <pc:sldMk cId="2133125074" sldId="1786"/>
            <ac:spMk id="2" creationId="{B13C1DC8-2E6A-BA4F-BE4A-69A1A120AC46}"/>
          </ac:spMkLst>
        </pc:spChg>
      </pc:sldChg>
      <pc:sldChg chg="addSp delSp modSp add del ord">
        <pc:chgData name="Andre Rampat" userId="6ea9038c-90ec-4a88-a42d-b3b3f1cac3bd" providerId="ADAL" clId="{CEED7F9D-418E-3E4C-AF82-B8017DF5D18A}" dt="2020-03-20T14:08:08.015" v="537" actId="2696"/>
        <pc:sldMkLst>
          <pc:docMk/>
          <pc:sldMk cId="216628222" sldId="1787"/>
        </pc:sldMkLst>
        <pc:spChg chg="add del">
          <ac:chgData name="Andre Rampat" userId="6ea9038c-90ec-4a88-a42d-b3b3f1cac3bd" providerId="ADAL" clId="{CEED7F9D-418E-3E4C-AF82-B8017DF5D18A}" dt="2020-03-16T09:08:32.372" v="78" actId="478"/>
          <ac:spMkLst>
            <pc:docMk/>
            <pc:sldMk cId="216628222" sldId="1787"/>
            <ac:spMk id="2" creationId="{673A3601-798E-4B10-9DB0-3499F827B569}"/>
          </ac:spMkLst>
        </pc:spChg>
        <pc:spChg chg="del">
          <ac:chgData name="Andre Rampat" userId="6ea9038c-90ec-4a88-a42d-b3b3f1cac3bd" providerId="ADAL" clId="{CEED7F9D-418E-3E4C-AF82-B8017DF5D18A}" dt="2020-03-16T09:07:53.157" v="60" actId="478"/>
          <ac:spMkLst>
            <pc:docMk/>
            <pc:sldMk cId="216628222" sldId="1787"/>
            <ac:spMk id="3" creationId="{462DE891-BE3D-4C0B-A41E-9D7E2278EC37}"/>
          </ac:spMkLst>
        </pc:spChg>
        <pc:spChg chg="del">
          <ac:chgData name="Andre Rampat" userId="6ea9038c-90ec-4a88-a42d-b3b3f1cac3bd" providerId="ADAL" clId="{CEED7F9D-418E-3E4C-AF82-B8017DF5D18A}" dt="2020-03-16T09:07:55.557" v="61" actId="478"/>
          <ac:spMkLst>
            <pc:docMk/>
            <pc:sldMk cId="216628222" sldId="1787"/>
            <ac:spMk id="4" creationId="{5C77C86D-299F-447B-814F-C3C7AB942CD3}"/>
          </ac:spMkLst>
        </pc:spChg>
        <pc:spChg chg="add del">
          <ac:chgData name="Andre Rampat" userId="6ea9038c-90ec-4a88-a42d-b3b3f1cac3bd" providerId="ADAL" clId="{CEED7F9D-418E-3E4C-AF82-B8017DF5D18A}" dt="2020-03-16T09:10:09.434" v="92" actId="478"/>
          <ac:spMkLst>
            <pc:docMk/>
            <pc:sldMk cId="216628222" sldId="1787"/>
            <ac:spMk id="5" creationId="{957FD8DE-F350-45F1-AC0A-8C9F8D4ACB78}"/>
          </ac:spMkLst>
        </pc:spChg>
        <pc:spChg chg="mod">
          <ac:chgData name="Andre Rampat" userId="6ea9038c-90ec-4a88-a42d-b3b3f1cac3bd" providerId="ADAL" clId="{CEED7F9D-418E-3E4C-AF82-B8017DF5D18A}" dt="2020-03-16T09:17:45.167" v="113" actId="1076"/>
          <ac:spMkLst>
            <pc:docMk/>
            <pc:sldMk cId="216628222" sldId="1787"/>
            <ac:spMk id="6" creationId="{CF7C967B-7449-47D4-BBB9-E7603A39BE86}"/>
          </ac:spMkLst>
        </pc:spChg>
        <pc:spChg chg="add del mod">
          <ac:chgData name="Andre Rampat" userId="6ea9038c-90ec-4a88-a42d-b3b3f1cac3bd" providerId="ADAL" clId="{CEED7F9D-418E-3E4C-AF82-B8017DF5D18A}" dt="2020-03-16T09:10:04.353" v="90"/>
          <ac:spMkLst>
            <pc:docMk/>
            <pc:sldMk cId="216628222" sldId="1787"/>
            <ac:spMk id="8" creationId="{A748E1F5-2913-C242-BB3F-F16F66F827A1}"/>
          </ac:spMkLst>
        </pc:spChg>
        <pc:spChg chg="add del mod">
          <ac:chgData name="Andre Rampat" userId="6ea9038c-90ec-4a88-a42d-b3b3f1cac3bd" providerId="ADAL" clId="{CEED7F9D-418E-3E4C-AF82-B8017DF5D18A}" dt="2020-03-16T09:10:04.353" v="90"/>
          <ac:spMkLst>
            <pc:docMk/>
            <pc:sldMk cId="216628222" sldId="1787"/>
            <ac:spMk id="10" creationId="{FA8CABCC-4CA6-EB4B-9D9F-3449B37374E4}"/>
          </ac:spMkLst>
        </pc:spChg>
        <pc:spChg chg="add del mod">
          <ac:chgData name="Andre Rampat" userId="6ea9038c-90ec-4a88-a42d-b3b3f1cac3bd" providerId="ADAL" clId="{CEED7F9D-418E-3E4C-AF82-B8017DF5D18A}" dt="2020-03-16T09:08:35.646" v="81" actId="478"/>
          <ac:spMkLst>
            <pc:docMk/>
            <pc:sldMk cId="216628222" sldId="1787"/>
            <ac:spMk id="14" creationId="{A5A9D37C-079B-A444-92A8-7F7F5A2A5CAF}"/>
          </ac:spMkLst>
        </pc:spChg>
        <pc:spChg chg="add del mod">
          <ac:chgData name="Andre Rampat" userId="6ea9038c-90ec-4a88-a42d-b3b3f1cac3bd" providerId="ADAL" clId="{CEED7F9D-418E-3E4C-AF82-B8017DF5D18A}" dt="2020-03-16T09:08:34.342" v="79" actId="767"/>
          <ac:spMkLst>
            <pc:docMk/>
            <pc:sldMk cId="216628222" sldId="1787"/>
            <ac:spMk id="16" creationId="{44084813-47AF-8E44-B437-9D29E066F1CB}"/>
          </ac:spMkLst>
        </pc:spChg>
        <pc:spChg chg="add del mod">
          <ac:chgData name="Andre Rampat" userId="6ea9038c-90ec-4a88-a42d-b3b3f1cac3bd" providerId="ADAL" clId="{CEED7F9D-418E-3E4C-AF82-B8017DF5D18A}" dt="2020-03-16T09:08:14.554" v="72" actId="478"/>
          <ac:spMkLst>
            <pc:docMk/>
            <pc:sldMk cId="216628222" sldId="1787"/>
            <ac:spMk id="18" creationId="{6EDECDB1-2B81-8D4C-8ABD-52937EB0F994}"/>
          </ac:spMkLst>
        </pc:spChg>
        <pc:spChg chg="add del mod">
          <ac:chgData name="Andre Rampat" userId="6ea9038c-90ec-4a88-a42d-b3b3f1cac3bd" providerId="ADAL" clId="{CEED7F9D-418E-3E4C-AF82-B8017DF5D18A}" dt="2020-03-16T09:08:14.180" v="71" actId="478"/>
          <ac:spMkLst>
            <pc:docMk/>
            <pc:sldMk cId="216628222" sldId="1787"/>
            <ac:spMk id="20" creationId="{B4865AC9-B1CD-E44B-B609-AEA4427777F0}"/>
          </ac:spMkLst>
        </pc:spChg>
        <pc:spChg chg="add del mod">
          <ac:chgData name="Andre Rampat" userId="6ea9038c-90ec-4a88-a42d-b3b3f1cac3bd" providerId="ADAL" clId="{CEED7F9D-418E-3E4C-AF82-B8017DF5D18A}" dt="2020-03-16T09:08:32.372" v="78" actId="478"/>
          <ac:spMkLst>
            <pc:docMk/>
            <pc:sldMk cId="216628222" sldId="1787"/>
            <ac:spMk id="22" creationId="{1E9FE654-7CC5-6A40-ADC6-734AAD8779D4}"/>
          </ac:spMkLst>
        </pc:spChg>
        <pc:spChg chg="add del mod">
          <ac:chgData name="Andre Rampat" userId="6ea9038c-90ec-4a88-a42d-b3b3f1cac3bd" providerId="ADAL" clId="{CEED7F9D-418E-3E4C-AF82-B8017DF5D18A}" dt="2020-03-16T09:08:32.372" v="78" actId="478"/>
          <ac:spMkLst>
            <pc:docMk/>
            <pc:sldMk cId="216628222" sldId="1787"/>
            <ac:spMk id="24" creationId="{6E51F971-071C-AB4B-B29E-AD56CBB3C68C}"/>
          </ac:spMkLst>
        </pc:spChg>
        <pc:spChg chg="add del mod">
          <ac:chgData name="Andre Rampat" userId="6ea9038c-90ec-4a88-a42d-b3b3f1cac3bd" providerId="ADAL" clId="{CEED7F9D-418E-3E4C-AF82-B8017DF5D18A}" dt="2020-03-16T09:08:31.320" v="76" actId="767"/>
          <ac:spMkLst>
            <pc:docMk/>
            <pc:sldMk cId="216628222" sldId="1787"/>
            <ac:spMk id="25" creationId="{CC4D9AD4-ABC4-B24D-AC4B-B29BB9D9D4AB}"/>
          </ac:spMkLst>
        </pc:spChg>
        <pc:spChg chg="add del mod">
          <ac:chgData name="Andre Rampat" userId="6ea9038c-90ec-4a88-a42d-b3b3f1cac3bd" providerId="ADAL" clId="{CEED7F9D-418E-3E4C-AF82-B8017DF5D18A}" dt="2020-03-16T09:10:16.483" v="94" actId="478"/>
          <ac:spMkLst>
            <pc:docMk/>
            <pc:sldMk cId="216628222" sldId="1787"/>
            <ac:spMk id="27" creationId="{56F60E7D-97F7-9344-85BD-86806F2CB84D}"/>
          </ac:spMkLst>
        </pc:spChg>
        <pc:picChg chg="add del">
          <ac:chgData name="Andre Rampat" userId="6ea9038c-90ec-4a88-a42d-b3b3f1cac3bd" providerId="ADAL" clId="{CEED7F9D-418E-3E4C-AF82-B8017DF5D18A}" dt="2020-03-16T09:10:06.653" v="91" actId="478"/>
          <ac:picMkLst>
            <pc:docMk/>
            <pc:sldMk cId="216628222" sldId="1787"/>
            <ac:picMk id="13" creationId="{046D332B-18A5-44C2-9D93-5151A8DD051D}"/>
          </ac:picMkLst>
        </pc:picChg>
        <pc:picChg chg="add del">
          <ac:chgData name="Andre Rampat" userId="6ea9038c-90ec-4a88-a42d-b3b3f1cac3bd" providerId="ADAL" clId="{CEED7F9D-418E-3E4C-AF82-B8017DF5D18A}" dt="2020-03-16T09:10:10.994" v="93" actId="478"/>
          <ac:picMkLst>
            <pc:docMk/>
            <pc:sldMk cId="216628222" sldId="1787"/>
            <ac:picMk id="15" creationId="{8FC58DEC-39BB-42E4-B87A-6AFEDA388590}"/>
          </ac:picMkLst>
        </pc:picChg>
      </pc:sldChg>
      <pc:sldChg chg="add del">
        <pc:chgData name="Andre Rampat" userId="6ea9038c-90ec-4a88-a42d-b3b3f1cac3bd" providerId="ADAL" clId="{CEED7F9D-418E-3E4C-AF82-B8017DF5D18A}" dt="2020-03-20T14:08:17.723" v="562" actId="2696"/>
        <pc:sldMkLst>
          <pc:docMk/>
          <pc:sldMk cId="3618267691" sldId="1788"/>
        </pc:sldMkLst>
      </pc:sldChg>
      <pc:sldChg chg="addSp delSp modSp add del ord">
        <pc:chgData name="Andre Rampat" userId="6ea9038c-90ec-4a88-a42d-b3b3f1cac3bd" providerId="ADAL" clId="{CEED7F9D-418E-3E4C-AF82-B8017DF5D18A}" dt="2020-03-20T14:08:28.294" v="563" actId="2696"/>
        <pc:sldMkLst>
          <pc:docMk/>
          <pc:sldMk cId="1336667339" sldId="1789"/>
        </pc:sldMkLst>
        <pc:spChg chg="add del mod">
          <ac:chgData name="Andre Rampat" userId="6ea9038c-90ec-4a88-a42d-b3b3f1cac3bd" providerId="ADAL" clId="{CEED7F9D-418E-3E4C-AF82-B8017DF5D18A}" dt="2020-03-16T09:18:55.968" v="123" actId="478"/>
          <ac:spMkLst>
            <pc:docMk/>
            <pc:sldMk cId="1336667339" sldId="1789"/>
            <ac:spMk id="4" creationId="{9BC59B22-DC1A-9A42-8D54-3E1B9B0A715E}"/>
          </ac:spMkLst>
        </pc:spChg>
        <pc:spChg chg="mod">
          <ac:chgData name="Andre Rampat" userId="6ea9038c-90ec-4a88-a42d-b3b3f1cac3bd" providerId="ADAL" clId="{CEED7F9D-418E-3E4C-AF82-B8017DF5D18A}" dt="2020-03-16T09:20:05.358" v="141"/>
          <ac:spMkLst>
            <pc:docMk/>
            <pc:sldMk cId="1336667339" sldId="1789"/>
            <ac:spMk id="6" creationId="{CF7C967B-7449-47D4-BBB9-E7603A39BE86}"/>
          </ac:spMkLst>
        </pc:spChg>
        <pc:spChg chg="add mod">
          <ac:chgData name="Andre Rampat" userId="6ea9038c-90ec-4a88-a42d-b3b3f1cac3bd" providerId="ADAL" clId="{CEED7F9D-418E-3E4C-AF82-B8017DF5D18A}" dt="2020-03-16T09:19:54.556" v="140" actId="171"/>
          <ac:spMkLst>
            <pc:docMk/>
            <pc:sldMk cId="1336667339" sldId="1789"/>
            <ac:spMk id="10" creationId="{F2A7AED5-CF75-CF4C-B49B-69319AB8DEA2}"/>
          </ac:spMkLst>
        </pc:spChg>
        <pc:picChg chg="add del">
          <ac:chgData name="Andre Rampat" userId="6ea9038c-90ec-4a88-a42d-b3b3f1cac3bd" providerId="ADAL" clId="{CEED7F9D-418E-3E4C-AF82-B8017DF5D18A}" dt="2020-03-16T09:18:33.116" v="117"/>
          <ac:picMkLst>
            <pc:docMk/>
            <pc:sldMk cId="1336667339" sldId="1789"/>
            <ac:picMk id="5" creationId="{2AB81090-AE82-7B41-B4F8-EAC2C7B85DE2}"/>
          </ac:picMkLst>
        </pc:picChg>
        <pc:picChg chg="add del mod">
          <ac:chgData name="Andre Rampat" userId="6ea9038c-90ec-4a88-a42d-b3b3f1cac3bd" providerId="ADAL" clId="{CEED7F9D-418E-3E4C-AF82-B8017DF5D18A}" dt="2020-03-16T09:18:58.321" v="126"/>
          <ac:picMkLst>
            <pc:docMk/>
            <pc:sldMk cId="1336667339" sldId="1789"/>
            <ac:picMk id="7" creationId="{1FCEC5A7-3B4C-7B44-A213-C79B071FF63B}"/>
          </ac:picMkLst>
        </pc:picChg>
        <pc:picChg chg="add mod">
          <ac:chgData name="Andre Rampat" userId="6ea9038c-90ec-4a88-a42d-b3b3f1cac3bd" providerId="ADAL" clId="{CEED7F9D-418E-3E4C-AF82-B8017DF5D18A}" dt="2020-03-16T09:19:36.467" v="135" actId="171"/>
          <ac:picMkLst>
            <pc:docMk/>
            <pc:sldMk cId="1336667339" sldId="1789"/>
            <ac:picMk id="9" creationId="{95976921-E8BF-4A4F-AA4A-9657071633C7}"/>
          </ac:picMkLst>
        </pc:picChg>
        <pc:picChg chg="add del mod">
          <ac:chgData name="Andre Rampat" userId="6ea9038c-90ec-4a88-a42d-b3b3f1cac3bd" providerId="ADAL" clId="{CEED7F9D-418E-3E4C-AF82-B8017DF5D18A}" dt="2020-03-16T09:19:38.492" v="136" actId="478"/>
          <ac:picMkLst>
            <pc:docMk/>
            <pc:sldMk cId="1336667339" sldId="1789"/>
            <ac:picMk id="11" creationId="{C67BC177-FA8F-4002-9885-14DD3ED29157}"/>
          </ac:picMkLst>
        </pc:picChg>
      </pc:sldChg>
      <pc:sldChg chg="add del ord">
        <pc:chgData name="Andre Rampat" userId="6ea9038c-90ec-4a88-a42d-b3b3f1cac3bd" providerId="ADAL" clId="{CEED7F9D-418E-3E4C-AF82-B8017DF5D18A}" dt="2020-03-20T14:08:08.057" v="542" actId="2696"/>
        <pc:sldMkLst>
          <pc:docMk/>
          <pc:sldMk cId="2868578148" sldId="1790"/>
        </pc:sldMkLst>
      </pc:sldChg>
      <pc:sldChg chg="add del ord">
        <pc:chgData name="Andre Rampat" userId="6ea9038c-90ec-4a88-a42d-b3b3f1cac3bd" providerId="ADAL" clId="{CEED7F9D-418E-3E4C-AF82-B8017DF5D18A}" dt="2020-03-20T14:08:13.222" v="543" actId="2696"/>
        <pc:sldMkLst>
          <pc:docMk/>
          <pc:sldMk cId="822155868" sldId="1791"/>
        </pc:sldMkLst>
      </pc:sldChg>
      <pc:sldChg chg="addSp delSp modSp add del ord">
        <pc:chgData name="Andre Rampat" userId="6ea9038c-90ec-4a88-a42d-b3b3f1cac3bd" providerId="ADAL" clId="{CEED7F9D-418E-3E4C-AF82-B8017DF5D18A}" dt="2020-03-20T14:08:15.284" v="561" actId="2696"/>
        <pc:sldMkLst>
          <pc:docMk/>
          <pc:sldMk cId="2162926612" sldId="1792"/>
        </pc:sldMkLst>
        <pc:spChg chg="mod">
          <ac:chgData name="Andre Rampat" userId="6ea9038c-90ec-4a88-a42d-b3b3f1cac3bd" providerId="ADAL" clId="{CEED7F9D-418E-3E4C-AF82-B8017DF5D18A}" dt="2020-03-16T09:37:18.907" v="478" actId="20577"/>
          <ac:spMkLst>
            <pc:docMk/>
            <pc:sldMk cId="2162926612" sldId="1792"/>
            <ac:spMk id="3" creationId="{462DE891-BE3D-4C0B-A41E-9D7E2278EC37}"/>
          </ac:spMkLst>
        </pc:spChg>
        <pc:spChg chg="del mod">
          <ac:chgData name="Andre Rampat" userId="6ea9038c-90ec-4a88-a42d-b3b3f1cac3bd" providerId="ADAL" clId="{CEED7F9D-418E-3E4C-AF82-B8017DF5D18A}" dt="2020-03-16T09:31:37.190" v="367" actId="478"/>
          <ac:spMkLst>
            <pc:docMk/>
            <pc:sldMk cId="2162926612" sldId="1792"/>
            <ac:spMk id="4" creationId="{5C77C86D-299F-447B-814F-C3C7AB942CD3}"/>
          </ac:spMkLst>
        </pc:spChg>
        <pc:spChg chg="add del mod">
          <ac:chgData name="Andre Rampat" userId="6ea9038c-90ec-4a88-a42d-b3b3f1cac3bd" providerId="ADAL" clId="{CEED7F9D-418E-3E4C-AF82-B8017DF5D18A}" dt="2020-03-16T09:33:17.111" v="469" actId="14100"/>
          <ac:spMkLst>
            <pc:docMk/>
            <pc:sldMk cId="2162926612" sldId="1792"/>
            <ac:spMk id="5" creationId="{957FD8DE-F350-45F1-AC0A-8C9F8D4ACB78}"/>
          </ac:spMkLst>
        </pc:spChg>
        <pc:spChg chg="mod">
          <ac:chgData name="Andre Rampat" userId="6ea9038c-90ec-4a88-a42d-b3b3f1cac3bd" providerId="ADAL" clId="{CEED7F9D-418E-3E4C-AF82-B8017DF5D18A}" dt="2020-03-16T09:26:57.310" v="159" actId="20577"/>
          <ac:spMkLst>
            <pc:docMk/>
            <pc:sldMk cId="2162926612" sldId="1792"/>
            <ac:spMk id="6" creationId="{CF7C967B-7449-47D4-BBB9-E7603A39BE86}"/>
          </ac:spMkLst>
        </pc:spChg>
        <pc:spChg chg="add del mod">
          <ac:chgData name="Andre Rampat" userId="6ea9038c-90ec-4a88-a42d-b3b3f1cac3bd" providerId="ADAL" clId="{CEED7F9D-418E-3E4C-AF82-B8017DF5D18A}" dt="2020-03-16T09:31:58.363" v="403" actId="478"/>
          <ac:spMkLst>
            <pc:docMk/>
            <pc:sldMk cId="2162926612" sldId="1792"/>
            <ac:spMk id="8" creationId="{2C768DEF-69EE-B74E-8CB0-57F64EFC4CA7}"/>
          </ac:spMkLst>
        </pc:spChg>
        <pc:picChg chg="del">
          <ac:chgData name="Andre Rampat" userId="6ea9038c-90ec-4a88-a42d-b3b3f1cac3bd" providerId="ADAL" clId="{CEED7F9D-418E-3E4C-AF82-B8017DF5D18A}" dt="2020-03-16T09:31:06.966" v="360" actId="478"/>
          <ac:picMkLst>
            <pc:docMk/>
            <pc:sldMk cId="2162926612" sldId="1792"/>
            <ac:picMk id="15" creationId="{8FC58DEC-39BB-42E4-B87A-6AFEDA388590}"/>
          </ac:picMkLst>
        </pc:picChg>
      </pc:sldChg>
      <pc:sldChg chg="add del">
        <pc:chgData name="Andre Rampat" userId="6ea9038c-90ec-4a88-a42d-b3b3f1cac3bd" providerId="ADAL" clId="{CEED7F9D-418E-3E4C-AF82-B8017DF5D18A}" dt="2020-03-16T09:21:12.341" v="148" actId="2696"/>
        <pc:sldMkLst>
          <pc:docMk/>
          <pc:sldMk cId="3519678020" sldId="1792"/>
        </pc:sldMkLst>
      </pc:sldChg>
      <pc:sldChg chg="add del">
        <pc:chgData name="Andre Rampat" userId="6ea9038c-90ec-4a88-a42d-b3b3f1cac3bd" providerId="ADAL" clId="{CEED7F9D-418E-3E4C-AF82-B8017DF5D18A}" dt="2020-03-20T14:08:01.884" v="535" actId="2696"/>
        <pc:sldMkLst>
          <pc:docMk/>
          <pc:sldMk cId="1581600032" sldId="1793"/>
        </pc:sldMkLst>
      </pc:sldChg>
      <pc:sldChg chg="addSp delSp modSp add del ord">
        <pc:chgData name="Andre Rampat" userId="6ea9038c-90ec-4a88-a42d-b3b3f1cac3bd" providerId="ADAL" clId="{CEED7F9D-418E-3E4C-AF82-B8017DF5D18A}" dt="2020-03-20T14:09:12.897" v="565" actId="2696"/>
        <pc:sldMkLst>
          <pc:docMk/>
          <pc:sldMk cId="601900438" sldId="1794"/>
        </pc:sldMkLst>
        <pc:spChg chg="del">
          <ac:chgData name="Andre Rampat" userId="6ea9038c-90ec-4a88-a42d-b3b3f1cac3bd" providerId="ADAL" clId="{CEED7F9D-418E-3E4C-AF82-B8017DF5D18A}" dt="2020-03-16T09:37:58.455" v="481"/>
          <ac:spMkLst>
            <pc:docMk/>
            <pc:sldMk cId="601900438" sldId="1794"/>
            <ac:spMk id="3" creationId="{516C2589-828F-E444-96BA-F832810848F5}"/>
          </ac:spMkLst>
        </pc:spChg>
        <pc:spChg chg="del">
          <ac:chgData name="Andre Rampat" userId="6ea9038c-90ec-4a88-a42d-b3b3f1cac3bd" providerId="ADAL" clId="{CEED7F9D-418E-3E4C-AF82-B8017DF5D18A}" dt="2020-03-16T09:37:58.455" v="481"/>
          <ac:spMkLst>
            <pc:docMk/>
            <pc:sldMk cId="601900438" sldId="1794"/>
            <ac:spMk id="4" creationId="{E0AE6677-2DA8-594F-8E57-F05E1112BC7A}"/>
          </ac:spMkLst>
        </pc:spChg>
        <pc:spChg chg="del">
          <ac:chgData name="Andre Rampat" userId="6ea9038c-90ec-4a88-a42d-b3b3f1cac3bd" providerId="ADAL" clId="{CEED7F9D-418E-3E4C-AF82-B8017DF5D18A}" dt="2020-03-16T09:37:58.455" v="481"/>
          <ac:spMkLst>
            <pc:docMk/>
            <pc:sldMk cId="601900438" sldId="1794"/>
            <ac:spMk id="5" creationId="{96F52E1B-B0B5-F94C-A3BE-7CB3F459A382}"/>
          </ac:spMkLst>
        </pc:spChg>
        <pc:spChg chg="del">
          <ac:chgData name="Andre Rampat" userId="6ea9038c-90ec-4a88-a42d-b3b3f1cac3bd" providerId="ADAL" clId="{CEED7F9D-418E-3E4C-AF82-B8017DF5D18A}" dt="2020-03-16T09:37:58.455" v="481"/>
          <ac:spMkLst>
            <pc:docMk/>
            <pc:sldMk cId="601900438" sldId="1794"/>
            <ac:spMk id="6" creationId="{E97030F5-FA05-F847-BE6A-0FE1F5FE8362}"/>
          </ac:spMkLst>
        </pc:spChg>
        <pc:spChg chg="del">
          <ac:chgData name="Andre Rampat" userId="6ea9038c-90ec-4a88-a42d-b3b3f1cac3bd" providerId="ADAL" clId="{CEED7F9D-418E-3E4C-AF82-B8017DF5D18A}" dt="2020-03-16T09:37:58.455" v="481"/>
          <ac:spMkLst>
            <pc:docMk/>
            <pc:sldMk cId="601900438" sldId="1794"/>
            <ac:spMk id="7" creationId="{4D62C220-8556-AB44-9924-830E389E6CED}"/>
          </ac:spMkLst>
        </pc:spChg>
        <pc:spChg chg="add mod">
          <ac:chgData name="Andre Rampat" userId="6ea9038c-90ec-4a88-a42d-b3b3f1cac3bd" providerId="ADAL" clId="{CEED7F9D-418E-3E4C-AF82-B8017DF5D18A}" dt="2020-03-16T09:42:10.843" v="527" actId="20577"/>
          <ac:spMkLst>
            <pc:docMk/>
            <pc:sldMk cId="601900438" sldId="1794"/>
            <ac:spMk id="8" creationId="{659B815B-99F1-B043-83E7-E052E7E83032}"/>
          </ac:spMkLst>
        </pc:spChg>
        <pc:spChg chg="add del mod">
          <ac:chgData name="Andre Rampat" userId="6ea9038c-90ec-4a88-a42d-b3b3f1cac3bd" providerId="ADAL" clId="{CEED7F9D-418E-3E4C-AF82-B8017DF5D18A}" dt="2020-03-16T09:38:10.087" v="484" actId="478"/>
          <ac:spMkLst>
            <pc:docMk/>
            <pc:sldMk cId="601900438" sldId="1794"/>
            <ac:spMk id="9" creationId="{14AA7A7B-EE60-704C-8329-912CD44D7D69}"/>
          </ac:spMkLst>
        </pc:spChg>
        <pc:spChg chg="add mod">
          <ac:chgData name="Andre Rampat" userId="6ea9038c-90ec-4a88-a42d-b3b3f1cac3bd" providerId="ADAL" clId="{CEED7F9D-418E-3E4C-AF82-B8017DF5D18A}" dt="2020-03-16T09:39:03.958" v="493" actId="20577"/>
          <ac:spMkLst>
            <pc:docMk/>
            <pc:sldMk cId="601900438" sldId="1794"/>
            <ac:spMk id="10" creationId="{89F780B7-9493-2B42-8E73-4ECCF57B3A0F}"/>
          </ac:spMkLst>
        </pc:spChg>
        <pc:picChg chg="add mod">
          <ac:chgData name="Andre Rampat" userId="6ea9038c-90ec-4a88-a42d-b3b3f1cac3bd" providerId="ADAL" clId="{CEED7F9D-418E-3E4C-AF82-B8017DF5D18A}" dt="2020-03-16T09:39:00.777" v="492" actId="1076"/>
          <ac:picMkLst>
            <pc:docMk/>
            <pc:sldMk cId="601900438" sldId="1794"/>
            <ac:picMk id="11" creationId="{C4789A5B-9DD1-894E-86D9-4E26EF28EA12}"/>
          </ac:picMkLst>
        </pc:picChg>
      </pc:sldChg>
      <pc:sldChg chg="add">
        <pc:chgData name="Andre Rampat" userId="6ea9038c-90ec-4a88-a42d-b3b3f1cac3bd" providerId="ADAL" clId="{CEED7F9D-418E-3E4C-AF82-B8017DF5D18A}" dt="2020-03-20T14:09:07.659" v="564"/>
        <pc:sldMkLst>
          <pc:docMk/>
          <pc:sldMk cId="3739124105" sldId="1795"/>
        </pc:sldMkLst>
      </pc:sldChg>
      <pc:sldMasterChg chg="delSldLayout modSldLayout">
        <pc:chgData name="Andre Rampat" userId="6ea9038c-90ec-4a88-a42d-b3b3f1cac3bd" providerId="ADAL" clId="{CEED7F9D-418E-3E4C-AF82-B8017DF5D18A}" dt="2020-03-20T14:08:01.896" v="536" actId="2696"/>
        <pc:sldMasterMkLst>
          <pc:docMk/>
          <pc:sldMasterMk cId="1208385855" sldId="2147483749"/>
        </pc:sldMasterMkLst>
        <pc:sldLayoutChg chg="addSp delSp modSp">
          <pc:chgData name="Andre Rampat" userId="6ea9038c-90ec-4a88-a42d-b3b3f1cac3bd" providerId="ADAL" clId="{CEED7F9D-418E-3E4C-AF82-B8017DF5D18A}" dt="2020-03-16T09:32:41.238" v="451" actId="1038"/>
          <pc:sldLayoutMkLst>
            <pc:docMk/>
            <pc:sldMasterMk cId="1208385855" sldId="2147483749"/>
            <pc:sldLayoutMk cId="1350416841" sldId="2147483790"/>
          </pc:sldLayoutMkLst>
          <pc:spChg chg="add del mod">
            <ac:chgData name="Andre Rampat" userId="6ea9038c-90ec-4a88-a42d-b3b3f1cac3bd" providerId="ADAL" clId="{CEED7F9D-418E-3E4C-AF82-B8017DF5D18A}" dt="2020-03-16T09:30:45.303" v="311" actId="478"/>
            <ac:spMkLst>
              <pc:docMk/>
              <pc:sldMasterMk cId="1208385855" sldId="2147483749"/>
              <pc:sldLayoutMk cId="1350416841" sldId="2147483790"/>
              <ac:spMk id="4" creationId="{93DA8A6C-D7C5-D642-8DF6-F42B83035AC8}"/>
            </ac:spMkLst>
          </pc:spChg>
          <pc:spChg chg="mod">
            <ac:chgData name="Andre Rampat" userId="6ea9038c-90ec-4a88-a42d-b3b3f1cac3bd" providerId="ADAL" clId="{CEED7F9D-418E-3E4C-AF82-B8017DF5D18A}" dt="2020-03-16T09:32:41.238" v="451" actId="1038"/>
            <ac:spMkLst>
              <pc:docMk/>
              <pc:sldMasterMk cId="1208385855" sldId="2147483749"/>
              <pc:sldLayoutMk cId="1350416841" sldId="2147483790"/>
              <ac:spMk id="12" creationId="{631A4692-705F-4B03-A981-DB9DF367EFB3}"/>
            </ac:spMkLst>
          </pc:spChg>
          <pc:spChg chg="mod">
            <ac:chgData name="Andre Rampat" userId="6ea9038c-90ec-4a88-a42d-b3b3f1cac3bd" providerId="ADAL" clId="{CEED7F9D-418E-3E4C-AF82-B8017DF5D18A}" dt="2020-03-16T09:30:50.992" v="323" actId="1038"/>
            <ac:spMkLst>
              <pc:docMk/>
              <pc:sldMasterMk cId="1208385855" sldId="2147483749"/>
              <pc:sldLayoutMk cId="1350416841" sldId="2147483790"/>
              <ac:spMk id="14" creationId="{9922401F-B6BA-4380-9FE0-7967FE971D7E}"/>
            </ac:spMkLst>
          </pc:spChg>
          <pc:spChg chg="mod">
            <ac:chgData name="Andre Rampat" userId="6ea9038c-90ec-4a88-a42d-b3b3f1cac3bd" providerId="ADAL" clId="{CEED7F9D-418E-3E4C-AF82-B8017DF5D18A}" dt="2020-03-16T09:32:31.717" v="431" actId="1038"/>
            <ac:spMkLst>
              <pc:docMk/>
              <pc:sldMasterMk cId="1208385855" sldId="2147483749"/>
              <pc:sldLayoutMk cId="1350416841" sldId="2147483790"/>
              <ac:spMk id="16" creationId="{BDAFBA97-BD6B-4B88-8E85-43E95D9282C8}"/>
            </ac:spMkLst>
          </pc:spChg>
          <pc:spChg chg="del">
            <ac:chgData name="Andre Rampat" userId="6ea9038c-90ec-4a88-a42d-b3b3f1cac3bd" providerId="ADAL" clId="{CEED7F9D-418E-3E4C-AF82-B8017DF5D18A}" dt="2020-03-16T09:27:25.199" v="162" actId="478"/>
            <ac:spMkLst>
              <pc:docMk/>
              <pc:sldMasterMk cId="1208385855" sldId="2147483749"/>
              <pc:sldLayoutMk cId="1350416841" sldId="2147483790"/>
              <ac:spMk id="18" creationId="{C877781D-82FC-4489-BD2A-41CB772049E0}"/>
            </ac:spMkLst>
          </pc:spChg>
          <pc:spChg chg="mod">
            <ac:chgData name="Andre Rampat" userId="6ea9038c-90ec-4a88-a42d-b3b3f1cac3bd" providerId="ADAL" clId="{CEED7F9D-418E-3E4C-AF82-B8017DF5D18A}" dt="2020-03-16T09:30:15.920" v="263" actId="1037"/>
            <ac:spMkLst>
              <pc:docMk/>
              <pc:sldMasterMk cId="1208385855" sldId="2147483749"/>
              <pc:sldLayoutMk cId="1350416841" sldId="2147483790"/>
              <ac:spMk id="37" creationId="{4192F3B8-DF65-364D-BE84-545BCEE96EC4}"/>
            </ac:spMkLst>
          </pc:spChg>
          <pc:spChg chg="mod">
            <ac:chgData name="Andre Rampat" userId="6ea9038c-90ec-4a88-a42d-b3b3f1cac3bd" providerId="ADAL" clId="{CEED7F9D-418E-3E4C-AF82-B8017DF5D18A}" dt="2020-03-16T09:30:50.992" v="323" actId="1038"/>
            <ac:spMkLst>
              <pc:docMk/>
              <pc:sldMasterMk cId="1208385855" sldId="2147483749"/>
              <pc:sldLayoutMk cId="1350416841" sldId="2147483790"/>
              <ac:spMk id="38" creationId="{5F419D01-D3D4-014B-9A49-E34D52C52099}"/>
            </ac:spMkLst>
          </pc:spChg>
          <pc:spChg chg="del">
            <ac:chgData name="Andre Rampat" userId="6ea9038c-90ec-4a88-a42d-b3b3f1cac3bd" providerId="ADAL" clId="{CEED7F9D-418E-3E4C-AF82-B8017DF5D18A}" dt="2020-03-16T09:27:22.540" v="160" actId="478"/>
            <ac:spMkLst>
              <pc:docMk/>
              <pc:sldMasterMk cId="1208385855" sldId="2147483749"/>
              <pc:sldLayoutMk cId="1350416841" sldId="2147483790"/>
              <ac:spMk id="39" creationId="{14051A18-432A-1744-84C2-0782E3CF0789}"/>
            </ac:spMkLst>
          </pc:spChg>
          <pc:spChg chg="mod">
            <ac:chgData name="Andre Rampat" userId="6ea9038c-90ec-4a88-a42d-b3b3f1cac3bd" providerId="ADAL" clId="{CEED7F9D-418E-3E4C-AF82-B8017DF5D18A}" dt="2020-03-16T09:30:50.992" v="323" actId="1038"/>
            <ac:spMkLst>
              <pc:docMk/>
              <pc:sldMasterMk cId="1208385855" sldId="2147483749"/>
              <pc:sldLayoutMk cId="1350416841" sldId="2147483790"/>
              <ac:spMk id="40" creationId="{6442F3F9-7403-C14A-A5AD-1F31F75198A1}"/>
            </ac:spMkLst>
          </pc:spChg>
          <pc:spChg chg="del">
            <ac:chgData name="Andre Rampat" userId="6ea9038c-90ec-4a88-a42d-b3b3f1cac3bd" providerId="ADAL" clId="{CEED7F9D-418E-3E4C-AF82-B8017DF5D18A}" dt="2020-03-16T09:27:23.430" v="161" actId="478"/>
            <ac:spMkLst>
              <pc:docMk/>
              <pc:sldMasterMk cId="1208385855" sldId="2147483749"/>
              <pc:sldLayoutMk cId="1350416841" sldId="2147483790"/>
              <ac:spMk id="41" creationId="{CED68C8E-78B6-6B48-AFDD-0705FCF763EF}"/>
            </ac:spMkLst>
          </pc:spChg>
          <pc:spChg chg="mod">
            <ac:chgData name="Andre Rampat" userId="6ea9038c-90ec-4a88-a42d-b3b3f1cac3bd" providerId="ADAL" clId="{CEED7F9D-418E-3E4C-AF82-B8017DF5D18A}" dt="2020-03-16T09:30:15.920" v="263" actId="1037"/>
            <ac:spMkLst>
              <pc:docMk/>
              <pc:sldMasterMk cId="1208385855" sldId="2147483749"/>
              <pc:sldLayoutMk cId="1350416841" sldId="2147483790"/>
              <ac:spMk id="42" creationId="{2B8F3018-E6C7-5948-8528-364C24CEF3B4}"/>
            </ac:spMkLst>
          </pc:spChg>
          <pc:grpChg chg="del mod">
            <ac:chgData name="Andre Rampat" userId="6ea9038c-90ec-4a88-a42d-b3b3f1cac3bd" providerId="ADAL" clId="{CEED7F9D-418E-3E4C-AF82-B8017DF5D18A}" dt="2020-03-16T09:31:00.501" v="359" actId="478"/>
            <ac:grpSpMkLst>
              <pc:docMk/>
              <pc:sldMasterMk cId="1208385855" sldId="2147483749"/>
              <pc:sldLayoutMk cId="1350416841" sldId="2147483790"/>
              <ac:grpSpMk id="24" creationId="{83100221-BEBD-4112-8642-0874305F47CF}"/>
            </ac:grpSpMkLst>
          </pc:grpChg>
        </pc:sldLayoutChg>
        <pc:sldLayoutChg chg="delSp">
          <pc:chgData name="Andre Rampat" userId="6ea9038c-90ec-4a88-a42d-b3b3f1cac3bd" providerId="ADAL" clId="{CEED7F9D-418E-3E4C-AF82-B8017DF5D18A}" dt="2020-03-16T09:09:49.876" v="89" actId="478"/>
          <pc:sldLayoutMkLst>
            <pc:docMk/>
            <pc:sldMasterMk cId="1208385855" sldId="2147483749"/>
            <pc:sldLayoutMk cId="2070300813" sldId="2147483804"/>
          </pc:sldLayoutMkLst>
          <pc:spChg chg="del">
            <ac:chgData name="Andre Rampat" userId="6ea9038c-90ec-4a88-a42d-b3b3f1cac3bd" providerId="ADAL" clId="{CEED7F9D-418E-3E4C-AF82-B8017DF5D18A}" dt="2020-03-16T09:09:42.006" v="84" actId="478"/>
            <ac:spMkLst>
              <pc:docMk/>
              <pc:sldMasterMk cId="1208385855" sldId="2147483749"/>
              <pc:sldLayoutMk cId="2070300813" sldId="2147483804"/>
              <ac:spMk id="16" creationId="{BDAFBA97-BD6B-4B88-8E85-43E95D9282C8}"/>
            </ac:spMkLst>
          </pc:spChg>
          <pc:spChg chg="del">
            <ac:chgData name="Andre Rampat" userId="6ea9038c-90ec-4a88-a42d-b3b3f1cac3bd" providerId="ADAL" clId="{CEED7F9D-418E-3E4C-AF82-B8017DF5D18A}" dt="2020-03-16T09:09:44.512" v="85" actId="478"/>
            <ac:spMkLst>
              <pc:docMk/>
              <pc:sldMasterMk cId="1208385855" sldId="2147483749"/>
              <pc:sldLayoutMk cId="2070300813" sldId="2147483804"/>
              <ac:spMk id="18" creationId="{C877781D-82FC-4489-BD2A-41CB772049E0}"/>
            </ac:spMkLst>
          </pc:spChg>
          <pc:spChg chg="del">
            <ac:chgData name="Andre Rampat" userId="6ea9038c-90ec-4a88-a42d-b3b3f1cac3bd" providerId="ADAL" clId="{CEED7F9D-418E-3E4C-AF82-B8017DF5D18A}" dt="2020-03-16T09:09:39.279" v="82" actId="478"/>
            <ac:spMkLst>
              <pc:docMk/>
              <pc:sldMasterMk cId="1208385855" sldId="2147483749"/>
              <pc:sldLayoutMk cId="2070300813" sldId="2147483804"/>
              <ac:spMk id="38" creationId="{5F419D01-D3D4-014B-9A49-E34D52C52099}"/>
            </ac:spMkLst>
          </pc:spChg>
          <pc:spChg chg="del">
            <ac:chgData name="Andre Rampat" userId="6ea9038c-90ec-4a88-a42d-b3b3f1cac3bd" providerId="ADAL" clId="{CEED7F9D-418E-3E4C-AF82-B8017DF5D18A}" dt="2020-03-16T09:09:45.420" v="86" actId="478"/>
            <ac:spMkLst>
              <pc:docMk/>
              <pc:sldMasterMk cId="1208385855" sldId="2147483749"/>
              <pc:sldLayoutMk cId="2070300813" sldId="2147483804"/>
              <ac:spMk id="39" creationId="{14051A18-432A-1744-84C2-0782E3CF0789}"/>
            </ac:spMkLst>
          </pc:spChg>
          <pc:spChg chg="del">
            <ac:chgData name="Andre Rampat" userId="6ea9038c-90ec-4a88-a42d-b3b3f1cac3bd" providerId="ADAL" clId="{CEED7F9D-418E-3E4C-AF82-B8017DF5D18A}" dt="2020-03-16T09:09:40.325" v="83" actId="478"/>
            <ac:spMkLst>
              <pc:docMk/>
              <pc:sldMasterMk cId="1208385855" sldId="2147483749"/>
              <pc:sldLayoutMk cId="2070300813" sldId="2147483804"/>
              <ac:spMk id="40" creationId="{6442F3F9-7403-C14A-A5AD-1F31F75198A1}"/>
            </ac:spMkLst>
          </pc:spChg>
          <pc:spChg chg="del">
            <ac:chgData name="Andre Rampat" userId="6ea9038c-90ec-4a88-a42d-b3b3f1cac3bd" providerId="ADAL" clId="{CEED7F9D-418E-3E4C-AF82-B8017DF5D18A}" dt="2020-03-16T09:09:46.462" v="87" actId="478"/>
            <ac:spMkLst>
              <pc:docMk/>
              <pc:sldMasterMk cId="1208385855" sldId="2147483749"/>
              <pc:sldLayoutMk cId="2070300813" sldId="2147483804"/>
              <ac:spMk id="41" creationId="{CED68C8E-78B6-6B48-AFDD-0705FCF763EF}"/>
            </ac:spMkLst>
          </pc:spChg>
          <pc:grpChg chg="del">
            <ac:chgData name="Andre Rampat" userId="6ea9038c-90ec-4a88-a42d-b3b3f1cac3bd" providerId="ADAL" clId="{CEED7F9D-418E-3E4C-AF82-B8017DF5D18A}" dt="2020-03-16T09:09:47.873" v="88" actId="478"/>
            <ac:grpSpMkLst>
              <pc:docMk/>
              <pc:sldMasterMk cId="1208385855" sldId="2147483749"/>
              <pc:sldLayoutMk cId="2070300813" sldId="2147483804"/>
              <ac:grpSpMk id="24" creationId="{83100221-BEBD-4112-8642-0874305F47CF}"/>
            </ac:grpSpMkLst>
          </pc:grpChg>
          <pc:cxnChg chg="del">
            <ac:chgData name="Andre Rampat" userId="6ea9038c-90ec-4a88-a42d-b3b3f1cac3bd" providerId="ADAL" clId="{CEED7F9D-418E-3E4C-AF82-B8017DF5D18A}" dt="2020-03-16T09:09:49.876" v="89" actId="478"/>
            <ac:cxnSpMkLst>
              <pc:docMk/>
              <pc:sldMasterMk cId="1208385855" sldId="2147483749"/>
              <pc:sldLayoutMk cId="2070300813" sldId="2147483804"/>
              <ac:cxnSpMk id="22" creationId="{207F3CAF-1E78-4875-A454-3F8B318382BB}"/>
            </ac:cxnSpMkLst>
          </pc:cxnChg>
        </pc:sldLayoutChg>
        <pc:sldLayoutChg chg="del">
          <pc:chgData name="Andre Rampat" userId="6ea9038c-90ec-4a88-a42d-b3b3f1cac3bd" providerId="ADAL" clId="{CEED7F9D-418E-3E4C-AF82-B8017DF5D18A}" dt="2020-03-20T14:08:01.896" v="536" actId="2696"/>
          <pc:sldLayoutMkLst>
            <pc:docMk/>
            <pc:sldMasterMk cId="1208385855" sldId="2147483749"/>
            <pc:sldLayoutMk cId="4128705112" sldId="2147483805"/>
          </pc:sldLayoutMkLst>
        </pc:sldLayoutChg>
      </pc:sldMasterChg>
      <pc:sldMasterChg chg="del delSldLayout">
        <pc:chgData name="Andre Rampat" userId="6ea9038c-90ec-4a88-a42d-b3b3f1cac3bd" providerId="ADAL" clId="{CEED7F9D-418E-3E4C-AF82-B8017DF5D18A}" dt="2020-03-20T14:08:13.259" v="559" actId="2696"/>
        <pc:sldMasterMkLst>
          <pc:docMk/>
          <pc:sldMasterMk cId="109067260" sldId="2147483792"/>
        </pc:sldMasterMkLst>
        <pc:sldLayoutChg chg="del">
          <pc:chgData name="Andre Rampat" userId="6ea9038c-90ec-4a88-a42d-b3b3f1cac3bd" providerId="ADAL" clId="{CEED7F9D-418E-3E4C-AF82-B8017DF5D18A}" dt="2020-03-20T14:08:13.249" v="548" actId="2696"/>
          <pc:sldLayoutMkLst>
            <pc:docMk/>
            <pc:sldMasterMk cId="109067260" sldId="2147483792"/>
            <pc:sldLayoutMk cId="1270901629" sldId="2147483793"/>
          </pc:sldLayoutMkLst>
        </pc:sldLayoutChg>
        <pc:sldLayoutChg chg="del">
          <pc:chgData name="Andre Rampat" userId="6ea9038c-90ec-4a88-a42d-b3b3f1cac3bd" providerId="ADAL" clId="{CEED7F9D-418E-3E4C-AF82-B8017DF5D18A}" dt="2020-03-20T14:08:13.250" v="549" actId="2696"/>
          <pc:sldLayoutMkLst>
            <pc:docMk/>
            <pc:sldMasterMk cId="109067260" sldId="2147483792"/>
            <pc:sldLayoutMk cId="4271193375" sldId="2147483794"/>
          </pc:sldLayoutMkLst>
        </pc:sldLayoutChg>
        <pc:sldLayoutChg chg="del">
          <pc:chgData name="Andre Rampat" userId="6ea9038c-90ec-4a88-a42d-b3b3f1cac3bd" providerId="ADAL" clId="{CEED7F9D-418E-3E4C-AF82-B8017DF5D18A}" dt="2020-03-20T14:08:13.250" v="550" actId="2696"/>
          <pc:sldLayoutMkLst>
            <pc:docMk/>
            <pc:sldMasterMk cId="109067260" sldId="2147483792"/>
            <pc:sldLayoutMk cId="400482422" sldId="2147483795"/>
          </pc:sldLayoutMkLst>
        </pc:sldLayoutChg>
        <pc:sldLayoutChg chg="del">
          <pc:chgData name="Andre Rampat" userId="6ea9038c-90ec-4a88-a42d-b3b3f1cac3bd" providerId="ADAL" clId="{CEED7F9D-418E-3E4C-AF82-B8017DF5D18A}" dt="2020-03-20T14:08:13.251" v="551" actId="2696"/>
          <pc:sldLayoutMkLst>
            <pc:docMk/>
            <pc:sldMasterMk cId="109067260" sldId="2147483792"/>
            <pc:sldLayoutMk cId="1193840811" sldId="2147483796"/>
          </pc:sldLayoutMkLst>
        </pc:sldLayoutChg>
        <pc:sldLayoutChg chg="del">
          <pc:chgData name="Andre Rampat" userId="6ea9038c-90ec-4a88-a42d-b3b3f1cac3bd" providerId="ADAL" clId="{CEED7F9D-418E-3E4C-AF82-B8017DF5D18A}" dt="2020-03-20T14:08:13.253" v="552" actId="2696"/>
          <pc:sldLayoutMkLst>
            <pc:docMk/>
            <pc:sldMasterMk cId="109067260" sldId="2147483792"/>
            <pc:sldLayoutMk cId="493167532" sldId="2147483797"/>
          </pc:sldLayoutMkLst>
        </pc:sldLayoutChg>
        <pc:sldLayoutChg chg="del">
          <pc:chgData name="Andre Rampat" userId="6ea9038c-90ec-4a88-a42d-b3b3f1cac3bd" providerId="ADAL" clId="{CEED7F9D-418E-3E4C-AF82-B8017DF5D18A}" dt="2020-03-20T14:08:13.253" v="553" actId="2696"/>
          <pc:sldLayoutMkLst>
            <pc:docMk/>
            <pc:sldMasterMk cId="109067260" sldId="2147483792"/>
            <pc:sldLayoutMk cId="1782674331" sldId="2147483798"/>
          </pc:sldLayoutMkLst>
        </pc:sldLayoutChg>
        <pc:sldLayoutChg chg="del">
          <pc:chgData name="Andre Rampat" userId="6ea9038c-90ec-4a88-a42d-b3b3f1cac3bd" providerId="ADAL" clId="{CEED7F9D-418E-3E4C-AF82-B8017DF5D18A}" dt="2020-03-20T14:08:13.254" v="554" actId="2696"/>
          <pc:sldLayoutMkLst>
            <pc:docMk/>
            <pc:sldMasterMk cId="109067260" sldId="2147483792"/>
            <pc:sldLayoutMk cId="234310199" sldId="2147483799"/>
          </pc:sldLayoutMkLst>
        </pc:sldLayoutChg>
        <pc:sldLayoutChg chg="del">
          <pc:chgData name="Andre Rampat" userId="6ea9038c-90ec-4a88-a42d-b3b3f1cac3bd" providerId="ADAL" clId="{CEED7F9D-418E-3E4C-AF82-B8017DF5D18A}" dt="2020-03-20T14:08:13.255" v="555" actId="2696"/>
          <pc:sldLayoutMkLst>
            <pc:docMk/>
            <pc:sldMasterMk cId="109067260" sldId="2147483792"/>
            <pc:sldLayoutMk cId="1029809492" sldId="2147483800"/>
          </pc:sldLayoutMkLst>
        </pc:sldLayoutChg>
        <pc:sldLayoutChg chg="del">
          <pc:chgData name="Andre Rampat" userId="6ea9038c-90ec-4a88-a42d-b3b3f1cac3bd" providerId="ADAL" clId="{CEED7F9D-418E-3E4C-AF82-B8017DF5D18A}" dt="2020-03-20T14:08:13.256" v="556" actId="2696"/>
          <pc:sldLayoutMkLst>
            <pc:docMk/>
            <pc:sldMasterMk cId="109067260" sldId="2147483792"/>
            <pc:sldLayoutMk cId="645500183" sldId="2147483801"/>
          </pc:sldLayoutMkLst>
        </pc:sldLayoutChg>
        <pc:sldLayoutChg chg="del">
          <pc:chgData name="Andre Rampat" userId="6ea9038c-90ec-4a88-a42d-b3b3f1cac3bd" providerId="ADAL" clId="{CEED7F9D-418E-3E4C-AF82-B8017DF5D18A}" dt="2020-03-20T14:08:13.256" v="557" actId="2696"/>
          <pc:sldLayoutMkLst>
            <pc:docMk/>
            <pc:sldMasterMk cId="109067260" sldId="2147483792"/>
            <pc:sldLayoutMk cId="3341707346" sldId="2147483802"/>
          </pc:sldLayoutMkLst>
        </pc:sldLayoutChg>
        <pc:sldLayoutChg chg="del">
          <pc:chgData name="Andre Rampat" userId="6ea9038c-90ec-4a88-a42d-b3b3f1cac3bd" providerId="ADAL" clId="{CEED7F9D-418E-3E4C-AF82-B8017DF5D18A}" dt="2020-03-20T14:08:13.257" v="558" actId="2696"/>
          <pc:sldLayoutMkLst>
            <pc:docMk/>
            <pc:sldMasterMk cId="109067260" sldId="2147483792"/>
            <pc:sldLayoutMk cId="2112722196" sldId="2147483803"/>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3ABD18-1FA1-4337-9616-BF712987D4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0D7EED5B-323D-458E-A739-7B833D15C60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9D552B-7E32-45AC-A3F8-FBB0634FD5D6}" type="datetimeFigureOut">
              <a:rPr lang="en-US" smtClean="0"/>
              <a:t>3/20/20</a:t>
            </a:fld>
            <a:endParaRPr lang="en-US" dirty="0"/>
          </a:p>
        </p:txBody>
      </p:sp>
      <p:sp>
        <p:nvSpPr>
          <p:cNvPr id="4" name="Footer Placeholder 3">
            <a:extLst>
              <a:ext uri="{FF2B5EF4-FFF2-40B4-BE49-F238E27FC236}">
                <a16:creationId xmlns:a16="http://schemas.microsoft.com/office/drawing/2014/main" id="{DF880066-1FA8-476E-962D-0AEB5E1B45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3348696A-0917-4B40-A8BA-95BE9E189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81D2F1-23BE-45C7-8533-9FA41E6B57FD}" type="slidenum">
              <a:rPr lang="en-US" smtClean="0"/>
              <a:t>‹#›</a:t>
            </a:fld>
            <a:endParaRPr lang="en-US" dirty="0"/>
          </a:p>
        </p:txBody>
      </p:sp>
    </p:spTree>
    <p:extLst>
      <p:ext uri="{BB962C8B-B14F-4D97-AF65-F5344CB8AC3E}">
        <p14:creationId xmlns:p14="http://schemas.microsoft.com/office/powerpoint/2010/main" val="41758319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5F237-14B1-44F1-B50A-02795525D4BD}" type="datetimeFigureOut">
              <a:rPr lang="en-US" smtClean="0"/>
              <a:t>3/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389EA6-10CF-4B84-A1CD-EB157AC13D65}" type="slidenum">
              <a:rPr lang="en-US" smtClean="0"/>
              <a:t>‹#›</a:t>
            </a:fld>
            <a:endParaRPr lang="en-US" dirty="0"/>
          </a:p>
        </p:txBody>
      </p:sp>
    </p:spTree>
    <p:extLst>
      <p:ext uri="{BB962C8B-B14F-4D97-AF65-F5344CB8AC3E}">
        <p14:creationId xmlns:p14="http://schemas.microsoft.com/office/powerpoint/2010/main" val="4235815511"/>
      </p:ext>
    </p:extLst>
  </p:cSld>
  <p:clrMap bg1="lt1" tx1="dk1" bg2="lt2" tx2="dk2" accent1="accent1" accent2="accent2" accent3="accent3" accent4="accent4" accent5="accent5" accent6="accent6" hlink="hlink" folHlink="folHlink"/>
  <p:notesStyle>
    <a:lvl1pPr marL="0" algn="l" defTabSz="914378" rtl="0" eaLnBrk="1" latinLnBrk="0" hangingPunct="1">
      <a:defRPr sz="1200" kern="1200">
        <a:solidFill>
          <a:schemeClr val="tx1"/>
        </a:solidFill>
        <a:latin typeface="+mn-lt"/>
        <a:ea typeface="+mn-ea"/>
        <a:cs typeface="+mn-cs"/>
      </a:defRPr>
    </a:lvl1pPr>
    <a:lvl2pPr marL="457189" algn="l" defTabSz="914378" rtl="0" eaLnBrk="1" latinLnBrk="0" hangingPunct="1">
      <a:defRPr sz="12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200" kern="1200">
        <a:solidFill>
          <a:schemeClr val="tx1"/>
        </a:solidFill>
        <a:latin typeface="+mn-lt"/>
        <a:ea typeface="+mn-ea"/>
        <a:cs typeface="+mn-cs"/>
      </a:defRPr>
    </a:lvl5pPr>
    <a:lvl6pPr marL="2285943" algn="l" defTabSz="914378" rtl="0" eaLnBrk="1" latinLnBrk="0" hangingPunct="1">
      <a:defRPr sz="1200" kern="1200">
        <a:solidFill>
          <a:schemeClr val="tx1"/>
        </a:solidFill>
        <a:latin typeface="+mn-lt"/>
        <a:ea typeface="+mn-ea"/>
        <a:cs typeface="+mn-cs"/>
      </a:defRPr>
    </a:lvl6pPr>
    <a:lvl7pPr marL="2743132" algn="l" defTabSz="914378" rtl="0" eaLnBrk="1" latinLnBrk="0" hangingPunct="1">
      <a:defRPr sz="1200" kern="1200">
        <a:solidFill>
          <a:schemeClr val="tx1"/>
        </a:solidFill>
        <a:latin typeface="+mn-lt"/>
        <a:ea typeface="+mn-ea"/>
        <a:cs typeface="+mn-cs"/>
      </a:defRPr>
    </a:lvl7pPr>
    <a:lvl8pPr marL="3200320" algn="l" defTabSz="914378" rtl="0" eaLnBrk="1" latinLnBrk="0" hangingPunct="1">
      <a:defRPr sz="12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2389EA6-10CF-4B84-A1CD-EB157AC13D65}" type="slidenum">
              <a:rPr lang="en-US" smtClean="0"/>
              <a:t>3</a:t>
            </a:fld>
            <a:endParaRPr lang="en-US" dirty="0"/>
          </a:p>
        </p:txBody>
      </p:sp>
    </p:spTree>
    <p:extLst>
      <p:ext uri="{BB962C8B-B14F-4D97-AF65-F5344CB8AC3E}">
        <p14:creationId xmlns:p14="http://schemas.microsoft.com/office/powerpoint/2010/main" val="286437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International businesses are setting themselves aggressive growth targets:</a:t>
            </a:r>
          </a:p>
          <a:p>
            <a:r>
              <a:rPr lang="en-GB" dirty="0"/>
              <a:t>31% of businesses expect to grow by 11–25%</a:t>
            </a:r>
          </a:p>
          <a:p>
            <a:r>
              <a:rPr lang="en-GB" dirty="0"/>
              <a:t>28% expect to grow by 26–50%</a:t>
            </a:r>
          </a:p>
          <a:p>
            <a:r>
              <a:rPr lang="en-GB" dirty="0"/>
              <a:t>25% expect to grow by 51–100% </a:t>
            </a:r>
          </a:p>
          <a:p>
            <a:endParaRPr lang="de-DE" dirty="0"/>
          </a:p>
          <a:p>
            <a:r>
              <a:rPr lang="en-US" dirty="0"/>
              <a:t>Ambitious companies are looking to expand beyond their home market to access new market opportunities and specialist talent. The majority of survey respondents say their firm increased their overseas headcount by over 25% in the past five years, and that growth is expected to accelerate in the next year.</a:t>
            </a:r>
          </a:p>
          <a:p>
            <a:r>
              <a:rPr lang="en-US" dirty="0"/>
              <a:t>For 75%, access to new market opportunities is the primary driver of expansion. As expected, the pursuit of growth is the main reason a company might take the effort to expand beyond their home markets.</a:t>
            </a:r>
          </a:p>
        </p:txBody>
      </p:sp>
      <p:sp>
        <p:nvSpPr>
          <p:cNvPr id="4" name="Foliennummernplatzhalter 3"/>
          <p:cNvSpPr>
            <a:spLocks noGrp="1"/>
          </p:cNvSpPr>
          <p:nvPr>
            <p:ph type="sldNum" sz="quarter" idx="5"/>
          </p:nvPr>
        </p:nvSpPr>
        <p:spPr/>
        <p:txBody>
          <a:bodyPr/>
          <a:lstStyle/>
          <a:p>
            <a:fld id="{C2389EA6-10CF-4B84-A1CD-EB157AC13D65}" type="slidenum">
              <a:rPr lang="en-US" smtClean="0"/>
              <a:t>4</a:t>
            </a:fld>
            <a:endParaRPr lang="en-US" dirty="0"/>
          </a:p>
        </p:txBody>
      </p:sp>
    </p:spTree>
    <p:extLst>
      <p:ext uri="{BB962C8B-B14F-4D97-AF65-F5344CB8AC3E}">
        <p14:creationId xmlns:p14="http://schemas.microsoft.com/office/powerpoint/2010/main" val="4229399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From designing HR services and systems to recruitment strategy, analytics have played an overwhelming role in supporting and driving change, according to survey respondents. This is particularly helpful as companies try to design global services that factor in the ever-growing, ever-changing legal and cultural requirements of foreign offices.</a:t>
            </a:r>
          </a:p>
          <a:p>
            <a:endParaRPr lang="en-US" sz="1200" b="0" i="0" u="none" strike="noStrike" kern="1200" baseline="0" dirty="0">
              <a:solidFill>
                <a:schemeClr val="tx1"/>
              </a:solidFill>
              <a:latin typeface="+mn-lt"/>
              <a:ea typeface="+mn-ea"/>
              <a:cs typeface="+mn-cs"/>
            </a:endParaRPr>
          </a:p>
          <a:p>
            <a:r>
              <a:rPr lang="en-GB" dirty="0"/>
              <a:t>Let technology lead the way in process integration</a:t>
            </a:r>
          </a:p>
          <a:p>
            <a:r>
              <a:rPr lang="en-GB" dirty="0"/>
              <a:t>HR process integration 46%</a:t>
            </a:r>
          </a:p>
          <a:p>
            <a:r>
              <a:rPr lang="en-GB" dirty="0"/>
              <a:t>Employee training 42%</a:t>
            </a:r>
          </a:p>
          <a:p>
            <a:r>
              <a:rPr lang="en-GB" dirty="0"/>
              <a:t>Managing HR operations cost 38%</a:t>
            </a:r>
          </a:p>
          <a:p>
            <a:r>
              <a:rPr lang="en-GB" dirty="0"/>
              <a:t>Employee engagement 34%</a:t>
            </a:r>
          </a:p>
          <a:p>
            <a:r>
              <a:rPr lang="en-GB" dirty="0"/>
              <a:t>Recruitment 30%</a:t>
            </a:r>
          </a:p>
          <a:p>
            <a:r>
              <a:rPr lang="en-GB" dirty="0"/>
              <a:t>Planning pay and benefits 30%</a:t>
            </a:r>
          </a:p>
          <a:p>
            <a:r>
              <a:rPr lang="en-GB" dirty="0"/>
              <a:t>Commutating across languages and cultures 29%</a:t>
            </a:r>
          </a:p>
          <a:p>
            <a:r>
              <a:rPr lang="en-GB" dirty="0"/>
              <a:t>Diversity and inclusion 26%</a:t>
            </a:r>
          </a:p>
        </p:txBody>
      </p:sp>
      <p:sp>
        <p:nvSpPr>
          <p:cNvPr id="4" name="Foliennummernplatzhalter 3"/>
          <p:cNvSpPr>
            <a:spLocks noGrp="1"/>
          </p:cNvSpPr>
          <p:nvPr>
            <p:ph type="sldNum" sz="quarter" idx="5"/>
          </p:nvPr>
        </p:nvSpPr>
        <p:spPr/>
        <p:txBody>
          <a:bodyPr/>
          <a:lstStyle/>
          <a:p>
            <a:fld id="{C2389EA6-10CF-4B84-A1CD-EB157AC13D65}" type="slidenum">
              <a:rPr lang="en-US" smtClean="0"/>
              <a:t>5</a:t>
            </a:fld>
            <a:endParaRPr lang="en-US" dirty="0"/>
          </a:p>
        </p:txBody>
      </p:sp>
    </p:spTree>
    <p:extLst>
      <p:ext uri="{BB962C8B-B14F-4D97-AF65-F5344CB8AC3E}">
        <p14:creationId xmlns:p14="http://schemas.microsoft.com/office/powerpoint/2010/main" val="852747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Recruiting suitably skilled employees and managers, and remaining compliant with employment law across multiple jurisdictions, are the most common HR-related issues that survey respondents encounter. These challenges and others have limited the pace of international expansion for a majority of respondents.</a:t>
            </a:r>
            <a:endParaRPr lang="de-DE" dirty="0"/>
          </a:p>
        </p:txBody>
      </p:sp>
      <p:sp>
        <p:nvSpPr>
          <p:cNvPr id="4" name="Foliennummernplatzhalter 3"/>
          <p:cNvSpPr>
            <a:spLocks noGrp="1"/>
          </p:cNvSpPr>
          <p:nvPr>
            <p:ph type="sldNum" sz="quarter" idx="5"/>
          </p:nvPr>
        </p:nvSpPr>
        <p:spPr/>
        <p:txBody>
          <a:bodyPr/>
          <a:lstStyle/>
          <a:p>
            <a:fld id="{C2389EA6-10CF-4B84-A1CD-EB157AC13D65}" type="slidenum">
              <a:rPr lang="en-US" smtClean="0"/>
              <a:t>6</a:t>
            </a:fld>
            <a:endParaRPr lang="en-US" dirty="0"/>
          </a:p>
        </p:txBody>
      </p:sp>
    </p:spTree>
    <p:extLst>
      <p:ext uri="{BB962C8B-B14F-4D97-AF65-F5344CB8AC3E}">
        <p14:creationId xmlns:p14="http://schemas.microsoft.com/office/powerpoint/2010/main" val="2646316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Companies with over 5,000 employees are more likely to have expanded internationally through mergers and acquisitions than those with fewer, although opening regional offices is the most common approach for both groups. Meanwhile, the most common HR challenge among these larger companies is understanding cultural differences. </a:t>
            </a:r>
            <a:endParaRPr lang="de-DE" dirty="0"/>
          </a:p>
        </p:txBody>
      </p:sp>
      <p:sp>
        <p:nvSpPr>
          <p:cNvPr id="4" name="Foliennummernplatzhalter 3"/>
          <p:cNvSpPr>
            <a:spLocks noGrp="1"/>
          </p:cNvSpPr>
          <p:nvPr>
            <p:ph type="sldNum" sz="quarter" idx="5"/>
          </p:nvPr>
        </p:nvSpPr>
        <p:spPr/>
        <p:txBody>
          <a:bodyPr/>
          <a:lstStyle/>
          <a:p>
            <a:fld id="{C2389EA6-10CF-4B84-A1CD-EB157AC13D65}" type="slidenum">
              <a:rPr lang="en-US" smtClean="0"/>
              <a:t>7</a:t>
            </a:fld>
            <a:endParaRPr lang="en-US" dirty="0"/>
          </a:p>
        </p:txBody>
      </p:sp>
    </p:spTree>
    <p:extLst>
      <p:ext uri="{BB962C8B-B14F-4D97-AF65-F5344CB8AC3E}">
        <p14:creationId xmlns:p14="http://schemas.microsoft.com/office/powerpoint/2010/main" val="2394263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st respondents (84%) agree that international expansion trends are an opportunity for HR to help drive company strategy. But, as interviewees advise, HR leaders must be assertive to ensure that workforce-related issues are acknowledged and addressed in their </a:t>
            </a:r>
            <a:r>
              <a:rPr lang="en-US" sz="1200" b="0" i="0" u="none" strike="noStrike" kern="1200" baseline="0" dirty="0" err="1">
                <a:solidFill>
                  <a:schemeClr val="tx1"/>
                </a:solidFill>
                <a:latin typeface="+mn-lt"/>
                <a:ea typeface="+mn-ea"/>
                <a:cs typeface="+mn-cs"/>
              </a:rPr>
              <a:t>organisation’s</a:t>
            </a:r>
            <a:r>
              <a:rPr lang="en-US" sz="1200" b="0" i="0" u="none" strike="noStrike" kern="1200" baseline="0" dirty="0">
                <a:solidFill>
                  <a:schemeClr val="tx1"/>
                </a:solidFill>
                <a:latin typeface="+mn-lt"/>
                <a:ea typeface="+mn-ea"/>
                <a:cs typeface="+mn-cs"/>
              </a:rPr>
              <a:t> expansion strategy.</a:t>
            </a:r>
            <a:endParaRPr lang="de-DE" dirty="0"/>
          </a:p>
        </p:txBody>
      </p:sp>
      <p:sp>
        <p:nvSpPr>
          <p:cNvPr id="4" name="Foliennummernplatzhalter 3"/>
          <p:cNvSpPr>
            <a:spLocks noGrp="1"/>
          </p:cNvSpPr>
          <p:nvPr>
            <p:ph type="sldNum" sz="quarter" idx="5"/>
          </p:nvPr>
        </p:nvSpPr>
        <p:spPr/>
        <p:txBody>
          <a:bodyPr/>
          <a:lstStyle/>
          <a:p>
            <a:fld id="{C2389EA6-10CF-4B84-A1CD-EB157AC13D65}" type="slidenum">
              <a:rPr lang="en-US" smtClean="0"/>
              <a:t>8</a:t>
            </a:fld>
            <a:endParaRPr lang="en-US" dirty="0"/>
          </a:p>
        </p:txBody>
      </p:sp>
    </p:spTree>
    <p:extLst>
      <p:ext uri="{BB962C8B-B14F-4D97-AF65-F5344CB8AC3E}">
        <p14:creationId xmlns:p14="http://schemas.microsoft.com/office/powerpoint/2010/main" val="1425085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5.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5.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5.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8.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8.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8.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8.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8.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8.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8.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8.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3.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4.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4.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4.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4.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4.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4.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4.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4.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4.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4.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dirty="0"/>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pic>
        <p:nvPicPr>
          <p:cNvPr id="16" name="Picture 15">
            <a:extLst>
              <a:ext uri="{FF2B5EF4-FFF2-40B4-BE49-F238E27FC236}">
                <a16:creationId xmlns:a16="http://schemas.microsoft.com/office/drawing/2014/main" id="{D1A904C9-93C8-439E-85F3-FD5119FAFE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7021" r="16362"/>
          <a:stretch/>
        </p:blipFill>
        <p:spPr>
          <a:xfrm>
            <a:off x="6142395" y="821530"/>
            <a:ext cx="3001607" cy="2218772"/>
          </a:xfrm>
          <a:prstGeom prst="rect">
            <a:avLst/>
          </a:prstGeom>
        </p:spPr>
      </p:pic>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a:t>
            </a:r>
            <a:r>
              <a:rPr lang="en-US" sz="600" dirty="0">
                <a:solidFill>
                  <a:schemeClr val="bg1"/>
                </a:solidFill>
                <a:latin typeface="+mn-lt"/>
              </a:rPr>
              <a:t>20</a:t>
            </a:r>
            <a:r>
              <a:rPr sz="600" dirty="0">
                <a:solidFill>
                  <a:schemeClr val="bg1"/>
                </a:solidFill>
                <a:latin typeface="+mn-lt"/>
              </a:rPr>
              <a:t> ADP, LL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711238"/>
          </a:xfrm>
        </p:spPr>
        <p:txBody>
          <a:bodyPr/>
          <a:lstStyle>
            <a:lvl1pPr>
              <a:lnSpc>
                <a:spcPct val="90000"/>
              </a:lnSpc>
              <a:spcAft>
                <a:spcPts val="4800"/>
              </a:spcAft>
              <a:defRPr sz="4800">
                <a:solidFill>
                  <a:schemeClr val="bg1"/>
                </a:solidFill>
              </a:defRPr>
            </a:lvl1pPr>
            <a:lvl2pPr marL="0" indent="0">
              <a:lnSpc>
                <a:spcPct val="100000"/>
              </a:lnSpc>
              <a:buNone/>
              <a:defRPr sz="2800">
                <a:solidFill>
                  <a:schemeClr val="bg1"/>
                </a:solidFill>
              </a:defRPr>
            </a:lvl2pPr>
            <a:lvl3pPr>
              <a:defRPr b="0">
                <a:solidFill>
                  <a:schemeClr val="bg1"/>
                </a:solidFill>
              </a:defRPr>
            </a:lvl3pPr>
          </a:lstStyle>
          <a:p>
            <a:pPr lvl="0"/>
            <a:r>
              <a:rPr lang="en-US" dirty="0"/>
              <a:t>Headline</a:t>
            </a:r>
          </a:p>
          <a:p>
            <a:pPr lvl="1"/>
            <a:r>
              <a:rPr lang="en-US" dirty="0"/>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66675"/>
            <a:ext cx="3840480" cy="276999"/>
          </a:xfrm>
        </p:spPr>
        <p:txBody>
          <a:bodyPr anchor="b"/>
          <a:lstStyle>
            <a:lvl1pPr>
              <a:defRPr sz="18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dirty="0"/>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dirty="0"/>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CD0FC91-0084-4A35-AF6B-9CFCB2CC9C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6136" y="4325115"/>
            <a:ext cx="868680" cy="618907"/>
          </a:xfrm>
          <a:prstGeom prst="rect">
            <a:avLst/>
          </a:prstGeom>
        </p:spPr>
      </p:pic>
    </p:spTree>
    <p:extLst>
      <p:ext uri="{BB962C8B-B14F-4D97-AF65-F5344CB8AC3E}">
        <p14:creationId xmlns:p14="http://schemas.microsoft.com/office/powerpoint/2010/main" val="160759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1B32FE-A062-4EED-A7B4-54E9B91A8288}"/>
              </a:ext>
            </a:extLst>
          </p:cNvPr>
          <p:cNvGraphicFramePr>
            <a:graphicFrameLocks noChangeAspect="1"/>
          </p:cNvGraphicFramePr>
          <p:nvPr userDrawn="1">
            <p:custDataLst>
              <p:tags r:id="rId2"/>
            </p:custDataLst>
            <p:extLst>
              <p:ext uri="{D42A27DB-BD31-4B8C-83A1-F6EECF244321}">
                <p14:modId xmlns:p14="http://schemas.microsoft.com/office/powerpoint/2010/main" val="192602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31B32FE-A062-4EED-A7B4-54E9B91A82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BB9AD4-8630-4E1B-B9BC-60E83DCF7C1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D9241C2E-B1EE-4F0C-B39F-ADC3C97F68F4}"/>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7" name="Line">
            <a:extLst>
              <a:ext uri="{FF2B5EF4-FFF2-40B4-BE49-F238E27FC236}">
                <a16:creationId xmlns:a16="http://schemas.microsoft.com/office/drawing/2014/main" id="{CA52B080-5B03-4710-B41C-CDFA01A40668}"/>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881ADF28-5734-4233-B87C-C89A72029F57}"/>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9" name="Picture 18">
            <a:extLst>
              <a:ext uri="{FF2B5EF4-FFF2-40B4-BE49-F238E27FC236}">
                <a16:creationId xmlns:a16="http://schemas.microsoft.com/office/drawing/2014/main" id="{03D8951D-5638-4C5D-9529-01124EB764E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84B85F7F-4B79-4A5D-A3E9-7A3040E76A3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7E799CE-5C03-45ED-B7F1-FCA7822DB0E4}"/>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05383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BB1598-F334-40FE-96D9-B67E510C4A5F}"/>
              </a:ext>
            </a:extLst>
          </p:cNvPr>
          <p:cNvGraphicFramePr>
            <a:graphicFrameLocks noChangeAspect="1"/>
          </p:cNvGraphicFramePr>
          <p:nvPr userDrawn="1">
            <p:custDataLst>
              <p:tags r:id="rId2"/>
            </p:custDataLst>
            <p:extLst>
              <p:ext uri="{D42A27DB-BD31-4B8C-83A1-F6EECF244321}">
                <p14:modId xmlns:p14="http://schemas.microsoft.com/office/powerpoint/2010/main" val="250104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61BB1598-F334-40FE-96D9-B67E510C4A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03574E-7474-4B2F-BA46-9F8A7FEC8CFB}"/>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7098D04-7ACF-482F-ACF9-69398D9C08E3}"/>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7A1300FD-ED04-4341-AB6A-5E55718E4C5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503A8512-B8CB-4D99-855F-F447A5435AE9}"/>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21" name="Picture 20">
            <a:extLst>
              <a:ext uri="{FF2B5EF4-FFF2-40B4-BE49-F238E27FC236}">
                <a16:creationId xmlns:a16="http://schemas.microsoft.com/office/drawing/2014/main" id="{870607B4-7327-4C6F-8E45-0DE8B9FB72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2" name="Straight Connector 21">
            <a:extLst>
              <a:ext uri="{FF2B5EF4-FFF2-40B4-BE49-F238E27FC236}">
                <a16:creationId xmlns:a16="http://schemas.microsoft.com/office/drawing/2014/main" id="{207F3CAF-1E78-4875-A454-3F8B318382B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16C949D5-F1B9-4E6D-9F63-7C9349E465C6}"/>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grpSp>
        <p:nvGrpSpPr>
          <p:cNvPr id="24" name="Group 23">
            <a:extLst>
              <a:ext uri="{FF2B5EF4-FFF2-40B4-BE49-F238E27FC236}">
                <a16:creationId xmlns:a16="http://schemas.microsoft.com/office/drawing/2014/main" id="{83100221-BEBD-4112-8642-0874305F47CF}"/>
              </a:ext>
            </a:extLst>
          </p:cNvPr>
          <p:cNvGrpSpPr/>
          <p:nvPr userDrawn="1"/>
        </p:nvGrpSpPr>
        <p:grpSpPr>
          <a:xfrm>
            <a:off x="2784347" y="1154133"/>
            <a:ext cx="2697480" cy="3989371"/>
            <a:chOff x="2784347" y="1227222"/>
            <a:chExt cx="2697480" cy="3916279"/>
          </a:xfrm>
        </p:grpSpPr>
        <p:cxnSp>
          <p:nvCxnSpPr>
            <p:cNvPr id="25" name="Straight Connector 24">
              <a:extLst>
                <a:ext uri="{FF2B5EF4-FFF2-40B4-BE49-F238E27FC236}">
                  <a16:creationId xmlns:a16="http://schemas.microsoft.com/office/drawing/2014/main" id="{F74215BB-0E5E-47CA-B2DF-CB507E3918EE}"/>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E5B37A-AA00-4571-A3E7-E7AE0463715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061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idebar: Headline + 3 columns">
    <p:spTree>
      <p:nvGrpSpPr>
        <p:cNvPr id="1" name=""/>
        <p:cNvGrpSpPr/>
        <p:nvPr/>
      </p:nvGrpSpPr>
      <p:grpSpPr>
        <a:xfrm>
          <a:off x="0" y="0"/>
          <a:ext cx="0" cy="0"/>
          <a:chOff x="0" y="0"/>
          <a:chExt cx="0" cy="0"/>
        </a:xfrm>
      </p:grpSpPr>
      <p:sp>
        <p:nvSpPr>
          <p:cNvPr id="40" name="Freeform 1">
            <a:extLst>
              <a:ext uri="{FF2B5EF4-FFF2-40B4-BE49-F238E27FC236}">
                <a16:creationId xmlns:a16="http://schemas.microsoft.com/office/drawing/2014/main" id="{6442F3F9-7403-C14A-A5AD-1F31F75198A1}"/>
              </a:ext>
            </a:extLst>
          </p:cNvPr>
          <p:cNvSpPr>
            <a:spLocks noChangeArrowheads="1"/>
          </p:cNvSpPr>
          <p:nvPr userDrawn="1"/>
        </p:nvSpPr>
        <p:spPr bwMode="auto">
          <a:xfrm>
            <a:off x="6242182" y="1353364"/>
            <a:ext cx="1441041" cy="1808274"/>
          </a:xfrm>
          <a:custGeom>
            <a:avLst/>
            <a:gdLst>
              <a:gd name="T0" fmla="*/ 2264 w 2732"/>
              <a:gd name="T1" fmla="*/ 2484 h 3429"/>
              <a:gd name="T2" fmla="*/ 2264 w 2732"/>
              <a:gd name="T3" fmla="*/ 2484 h 3429"/>
              <a:gd name="T4" fmla="*/ 540 w 2732"/>
              <a:gd name="T5" fmla="*/ 2988 h 3429"/>
              <a:gd name="T6" fmla="*/ 9 w 2732"/>
              <a:gd name="T7" fmla="*/ 1604 h 3429"/>
              <a:gd name="T8" fmla="*/ 27 w 2732"/>
              <a:gd name="T9" fmla="*/ 1283 h 3429"/>
              <a:gd name="T10" fmla="*/ 1100 w 2732"/>
              <a:gd name="T11" fmla="*/ 156 h 3429"/>
              <a:gd name="T12" fmla="*/ 2685 w 2732"/>
              <a:gd name="T13" fmla="*/ 1136 h 3429"/>
              <a:gd name="T14" fmla="*/ 2722 w 2732"/>
              <a:gd name="T15" fmla="*/ 1329 h 3429"/>
              <a:gd name="T16" fmla="*/ 2731 w 2732"/>
              <a:gd name="T17" fmla="*/ 1512 h 3429"/>
              <a:gd name="T18" fmla="*/ 2474 w 2732"/>
              <a:gd name="T19" fmla="*/ 2245 h 3429"/>
              <a:gd name="T20" fmla="*/ 2264 w 2732"/>
              <a:gd name="T21" fmla="*/ 2484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2" h="3429">
                <a:moveTo>
                  <a:pt x="2264" y="2484"/>
                </a:moveTo>
                <a:lnTo>
                  <a:pt x="2264" y="2484"/>
                </a:lnTo>
                <a:cubicBezTo>
                  <a:pt x="1796" y="2823"/>
                  <a:pt x="1145" y="3428"/>
                  <a:pt x="540" y="2988"/>
                </a:cubicBezTo>
                <a:cubicBezTo>
                  <a:pt x="100" y="2649"/>
                  <a:pt x="73" y="2080"/>
                  <a:pt x="9" y="1604"/>
                </a:cubicBezTo>
                <a:cubicBezTo>
                  <a:pt x="0" y="1503"/>
                  <a:pt x="9" y="1393"/>
                  <a:pt x="27" y="1283"/>
                </a:cubicBezTo>
                <a:cubicBezTo>
                  <a:pt x="100" y="760"/>
                  <a:pt x="504" y="266"/>
                  <a:pt x="1100" y="156"/>
                </a:cubicBezTo>
                <a:cubicBezTo>
                  <a:pt x="1842" y="0"/>
                  <a:pt x="2484" y="486"/>
                  <a:pt x="2685" y="1136"/>
                </a:cubicBezTo>
                <a:cubicBezTo>
                  <a:pt x="2704" y="1200"/>
                  <a:pt x="2713" y="1265"/>
                  <a:pt x="2722" y="1329"/>
                </a:cubicBezTo>
                <a:cubicBezTo>
                  <a:pt x="2731" y="1393"/>
                  <a:pt x="2731" y="1457"/>
                  <a:pt x="2731" y="1512"/>
                </a:cubicBezTo>
                <a:cubicBezTo>
                  <a:pt x="2731" y="1769"/>
                  <a:pt x="2640" y="2025"/>
                  <a:pt x="2474" y="2245"/>
                </a:cubicBezTo>
                <a:cubicBezTo>
                  <a:pt x="2420" y="2328"/>
                  <a:pt x="2346" y="2410"/>
                  <a:pt x="2264" y="2484"/>
                </a:cubicBezTo>
              </a:path>
            </a:pathLst>
          </a:custGeom>
          <a:solidFill>
            <a:schemeClr val="accent1"/>
          </a:solidFill>
          <a:ln>
            <a:noFill/>
          </a:ln>
          <a:effectLst/>
        </p:spPr>
        <p:txBody>
          <a:bodyPr wrap="none" anchor="ctr"/>
          <a:lstStyle/>
          <a:p>
            <a:endParaRPr lang="en-US" sz="1800" dirty="0"/>
          </a:p>
        </p:txBody>
      </p:sp>
      <p:sp>
        <p:nvSpPr>
          <p:cNvPr id="42" name="Freeform 1">
            <a:extLst>
              <a:ext uri="{FF2B5EF4-FFF2-40B4-BE49-F238E27FC236}">
                <a16:creationId xmlns:a16="http://schemas.microsoft.com/office/drawing/2014/main" id="{2B8F3018-E6C7-5948-8528-364C24CEF3B4}"/>
              </a:ext>
            </a:extLst>
          </p:cNvPr>
          <p:cNvSpPr>
            <a:spLocks noChangeArrowheads="1"/>
          </p:cNvSpPr>
          <p:nvPr userDrawn="1"/>
        </p:nvSpPr>
        <p:spPr bwMode="auto">
          <a:xfrm>
            <a:off x="1678317" y="1353364"/>
            <a:ext cx="1441041" cy="1808274"/>
          </a:xfrm>
          <a:custGeom>
            <a:avLst/>
            <a:gdLst>
              <a:gd name="T0" fmla="*/ 2264 w 2732"/>
              <a:gd name="T1" fmla="*/ 2484 h 3429"/>
              <a:gd name="T2" fmla="*/ 2264 w 2732"/>
              <a:gd name="T3" fmla="*/ 2484 h 3429"/>
              <a:gd name="T4" fmla="*/ 540 w 2732"/>
              <a:gd name="T5" fmla="*/ 2988 h 3429"/>
              <a:gd name="T6" fmla="*/ 9 w 2732"/>
              <a:gd name="T7" fmla="*/ 1604 h 3429"/>
              <a:gd name="T8" fmla="*/ 27 w 2732"/>
              <a:gd name="T9" fmla="*/ 1283 h 3429"/>
              <a:gd name="T10" fmla="*/ 1100 w 2732"/>
              <a:gd name="T11" fmla="*/ 156 h 3429"/>
              <a:gd name="T12" fmla="*/ 2685 w 2732"/>
              <a:gd name="T13" fmla="*/ 1136 h 3429"/>
              <a:gd name="T14" fmla="*/ 2722 w 2732"/>
              <a:gd name="T15" fmla="*/ 1329 h 3429"/>
              <a:gd name="T16" fmla="*/ 2731 w 2732"/>
              <a:gd name="T17" fmla="*/ 1512 h 3429"/>
              <a:gd name="T18" fmla="*/ 2474 w 2732"/>
              <a:gd name="T19" fmla="*/ 2245 h 3429"/>
              <a:gd name="T20" fmla="*/ 2264 w 2732"/>
              <a:gd name="T21" fmla="*/ 2484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2" h="3429">
                <a:moveTo>
                  <a:pt x="2264" y="2484"/>
                </a:moveTo>
                <a:lnTo>
                  <a:pt x="2264" y="2484"/>
                </a:lnTo>
                <a:cubicBezTo>
                  <a:pt x="1796" y="2823"/>
                  <a:pt x="1145" y="3428"/>
                  <a:pt x="540" y="2988"/>
                </a:cubicBezTo>
                <a:cubicBezTo>
                  <a:pt x="100" y="2649"/>
                  <a:pt x="73" y="2080"/>
                  <a:pt x="9" y="1604"/>
                </a:cubicBezTo>
                <a:cubicBezTo>
                  <a:pt x="0" y="1503"/>
                  <a:pt x="9" y="1393"/>
                  <a:pt x="27" y="1283"/>
                </a:cubicBezTo>
                <a:cubicBezTo>
                  <a:pt x="100" y="760"/>
                  <a:pt x="504" y="266"/>
                  <a:pt x="1100" y="156"/>
                </a:cubicBezTo>
                <a:cubicBezTo>
                  <a:pt x="1842" y="0"/>
                  <a:pt x="2484" y="486"/>
                  <a:pt x="2685" y="1136"/>
                </a:cubicBezTo>
                <a:cubicBezTo>
                  <a:pt x="2704" y="1200"/>
                  <a:pt x="2713" y="1265"/>
                  <a:pt x="2722" y="1329"/>
                </a:cubicBezTo>
                <a:cubicBezTo>
                  <a:pt x="2731" y="1393"/>
                  <a:pt x="2731" y="1457"/>
                  <a:pt x="2731" y="1512"/>
                </a:cubicBezTo>
                <a:cubicBezTo>
                  <a:pt x="2731" y="1769"/>
                  <a:pt x="2640" y="2025"/>
                  <a:pt x="2474" y="2245"/>
                </a:cubicBezTo>
                <a:cubicBezTo>
                  <a:pt x="2420" y="2328"/>
                  <a:pt x="2346" y="2410"/>
                  <a:pt x="2264" y="2484"/>
                </a:cubicBezTo>
              </a:path>
            </a:pathLst>
          </a:custGeom>
          <a:solidFill>
            <a:schemeClr val="accent1"/>
          </a:solidFill>
          <a:ln>
            <a:noFill/>
          </a:ln>
          <a:effectLst/>
        </p:spPr>
        <p:txBody>
          <a:bodyPr wrap="none" anchor="ctr"/>
          <a:lstStyle/>
          <a:p>
            <a:endParaRPr lang="en-US" sz="1800" dirty="0"/>
          </a:p>
        </p:txBody>
      </p:sp>
      <p:graphicFrame>
        <p:nvGraphicFramePr>
          <p:cNvPr id="3" name="Object 2" hidden="1">
            <a:extLst>
              <a:ext uri="{FF2B5EF4-FFF2-40B4-BE49-F238E27FC236}">
                <a16:creationId xmlns:a16="http://schemas.microsoft.com/office/drawing/2014/main" id="{61BB1598-F334-40FE-96D9-B67E510C4A5F}"/>
              </a:ext>
            </a:extLst>
          </p:cNvPr>
          <p:cNvGraphicFramePr>
            <a:graphicFrameLocks noChangeAspect="1"/>
          </p:cNvGraphicFramePr>
          <p:nvPr userDrawn="1">
            <p:custDataLst>
              <p:tags r:id="rId2"/>
            </p:custDataLst>
            <p:extLst>
              <p:ext uri="{D42A27DB-BD31-4B8C-83A1-F6EECF244321}">
                <p14:modId xmlns:p14="http://schemas.microsoft.com/office/powerpoint/2010/main" val="35026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61BB1598-F334-40FE-96D9-B67E510C4A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03574E-7474-4B2F-BA46-9F8A7FEC8CFB}"/>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8012828" y="4889146"/>
            <a:ext cx="117020" cy="123111"/>
          </a:xfrm>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1564667" y="3503769"/>
            <a:ext cx="2103120" cy="1132237"/>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6102522" y="3503769"/>
            <a:ext cx="2103120" cy="1132237"/>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7098D04-7ACF-482F-ACF9-69398D9C08E3}"/>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7A1300FD-ED04-4341-AB6A-5E55718E4C5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503A8512-B8CB-4D99-855F-F447A5435AE9}"/>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21" name="Picture 20">
            <a:extLst>
              <a:ext uri="{FF2B5EF4-FFF2-40B4-BE49-F238E27FC236}">
                <a16:creationId xmlns:a16="http://schemas.microsoft.com/office/drawing/2014/main" id="{870607B4-7327-4C6F-8E45-0DE8B9FB72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2" name="Straight Connector 21">
            <a:extLst>
              <a:ext uri="{FF2B5EF4-FFF2-40B4-BE49-F238E27FC236}">
                <a16:creationId xmlns:a16="http://schemas.microsoft.com/office/drawing/2014/main" id="{207F3CAF-1E78-4875-A454-3F8B318382B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16C949D5-F1B9-4E6D-9F63-7C9349E465C6}"/>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37" name="Picture Placeholder 15">
            <a:extLst>
              <a:ext uri="{FF2B5EF4-FFF2-40B4-BE49-F238E27FC236}">
                <a16:creationId xmlns:a16="http://schemas.microsoft.com/office/drawing/2014/main" id="{4192F3B8-DF65-364D-BE84-545BCEE96EC4}"/>
              </a:ext>
            </a:extLst>
          </p:cNvPr>
          <p:cNvSpPr>
            <a:spLocks noGrp="1"/>
          </p:cNvSpPr>
          <p:nvPr>
            <p:ph type="pic" sz="quarter" idx="11" hasCustomPrompt="1"/>
          </p:nvPr>
        </p:nvSpPr>
        <p:spPr>
          <a:xfrm>
            <a:off x="1550170" y="1402771"/>
            <a:ext cx="1437629" cy="1590425"/>
          </a:xfrm>
          <a:custGeom>
            <a:avLst/>
            <a:gdLst>
              <a:gd name="connsiteX0" fmla="*/ 721273 w 1437629"/>
              <a:gd name="connsiteY0" fmla="*/ 5 h 1590425"/>
              <a:gd name="connsiteX1" fmla="*/ 1413365 w 1437629"/>
              <a:gd name="connsiteY1" fmla="*/ 532277 h 1590425"/>
              <a:gd name="connsiteX2" fmla="*/ 1432882 w 1437629"/>
              <a:gd name="connsiteY2" fmla="*/ 634056 h 1590425"/>
              <a:gd name="connsiteX3" fmla="*/ 1437629 w 1437629"/>
              <a:gd name="connsiteY3" fmla="*/ 730560 h 1590425"/>
              <a:gd name="connsiteX4" fmla="*/ 1302070 w 1437629"/>
              <a:gd name="connsiteY4" fmla="*/ 1117106 h 1590425"/>
              <a:gd name="connsiteX5" fmla="*/ 1191301 w 1437629"/>
              <a:gd name="connsiteY5" fmla="*/ 1243142 h 1590425"/>
              <a:gd name="connsiteX6" fmla="*/ 281947 w 1437629"/>
              <a:gd name="connsiteY6" fmla="*/ 1508925 h 1590425"/>
              <a:gd name="connsiteX7" fmla="*/ 1862 w 1437629"/>
              <a:gd name="connsiteY7" fmla="*/ 779076 h 1590425"/>
              <a:gd name="connsiteX8" fmla="*/ 11356 w 1437629"/>
              <a:gd name="connsiteY8" fmla="*/ 609798 h 1590425"/>
              <a:gd name="connsiteX9" fmla="*/ 577329 w 1437629"/>
              <a:gd name="connsiteY9" fmla="*/ 15477 h 1590425"/>
              <a:gd name="connsiteX10" fmla="*/ 721273 w 1437629"/>
              <a:gd name="connsiteY10" fmla="*/ 5 h 159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629" h="1590425">
                <a:moveTo>
                  <a:pt x="721273" y="5"/>
                </a:moveTo>
                <a:cubicBezTo>
                  <a:pt x="1049734" y="-1365"/>
                  <a:pt x="1320597" y="232349"/>
                  <a:pt x="1413365" y="532277"/>
                </a:cubicBezTo>
                <a:cubicBezTo>
                  <a:pt x="1423387" y="566028"/>
                  <a:pt x="1428134" y="600306"/>
                  <a:pt x="1432882" y="634056"/>
                </a:cubicBezTo>
                <a:cubicBezTo>
                  <a:pt x="1437629" y="667806"/>
                  <a:pt x="1437629" y="701556"/>
                  <a:pt x="1437629" y="730560"/>
                </a:cubicBezTo>
                <a:cubicBezTo>
                  <a:pt x="1437629" y="866089"/>
                  <a:pt x="1389629" y="1001090"/>
                  <a:pt x="1302070" y="1117106"/>
                </a:cubicBezTo>
                <a:cubicBezTo>
                  <a:pt x="1273586" y="1160876"/>
                  <a:pt x="1234554" y="1204118"/>
                  <a:pt x="1191301" y="1243142"/>
                </a:cubicBezTo>
                <a:cubicBezTo>
                  <a:pt x="944447" y="1421913"/>
                  <a:pt x="601065" y="1740958"/>
                  <a:pt x="281947" y="1508925"/>
                </a:cubicBezTo>
                <a:cubicBezTo>
                  <a:pt x="49861" y="1330154"/>
                  <a:pt x="35620" y="1030094"/>
                  <a:pt x="1862" y="779076"/>
                </a:cubicBezTo>
                <a:cubicBezTo>
                  <a:pt x="-2885" y="725814"/>
                  <a:pt x="1862" y="667806"/>
                  <a:pt x="11356" y="609798"/>
                </a:cubicBezTo>
                <a:cubicBezTo>
                  <a:pt x="49861" y="333995"/>
                  <a:pt x="262958" y="73485"/>
                  <a:pt x="577329" y="15477"/>
                </a:cubicBezTo>
                <a:cubicBezTo>
                  <a:pt x="626252" y="5194"/>
                  <a:pt x="674350" y="201"/>
                  <a:pt x="721273" y="5"/>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38" name="Picture Placeholder 15">
            <a:extLst>
              <a:ext uri="{FF2B5EF4-FFF2-40B4-BE49-F238E27FC236}">
                <a16:creationId xmlns:a16="http://schemas.microsoft.com/office/drawing/2014/main" id="{5F419D01-D3D4-014B-9A49-E34D52C52099}"/>
              </a:ext>
            </a:extLst>
          </p:cNvPr>
          <p:cNvSpPr>
            <a:spLocks noGrp="1"/>
          </p:cNvSpPr>
          <p:nvPr>
            <p:ph type="pic" sz="quarter" idx="19" hasCustomPrompt="1"/>
          </p:nvPr>
        </p:nvSpPr>
        <p:spPr>
          <a:xfrm>
            <a:off x="6111176" y="1402771"/>
            <a:ext cx="1437629" cy="1590425"/>
          </a:xfrm>
          <a:custGeom>
            <a:avLst/>
            <a:gdLst>
              <a:gd name="connsiteX0" fmla="*/ 721273 w 1437629"/>
              <a:gd name="connsiteY0" fmla="*/ 5 h 1590425"/>
              <a:gd name="connsiteX1" fmla="*/ 1413365 w 1437629"/>
              <a:gd name="connsiteY1" fmla="*/ 532277 h 1590425"/>
              <a:gd name="connsiteX2" fmla="*/ 1432882 w 1437629"/>
              <a:gd name="connsiteY2" fmla="*/ 634056 h 1590425"/>
              <a:gd name="connsiteX3" fmla="*/ 1437629 w 1437629"/>
              <a:gd name="connsiteY3" fmla="*/ 730560 h 1590425"/>
              <a:gd name="connsiteX4" fmla="*/ 1302070 w 1437629"/>
              <a:gd name="connsiteY4" fmla="*/ 1117106 h 1590425"/>
              <a:gd name="connsiteX5" fmla="*/ 1191301 w 1437629"/>
              <a:gd name="connsiteY5" fmla="*/ 1243142 h 1590425"/>
              <a:gd name="connsiteX6" fmla="*/ 281947 w 1437629"/>
              <a:gd name="connsiteY6" fmla="*/ 1508925 h 1590425"/>
              <a:gd name="connsiteX7" fmla="*/ 1862 w 1437629"/>
              <a:gd name="connsiteY7" fmla="*/ 779076 h 1590425"/>
              <a:gd name="connsiteX8" fmla="*/ 11356 w 1437629"/>
              <a:gd name="connsiteY8" fmla="*/ 609798 h 1590425"/>
              <a:gd name="connsiteX9" fmla="*/ 577329 w 1437629"/>
              <a:gd name="connsiteY9" fmla="*/ 15477 h 1590425"/>
              <a:gd name="connsiteX10" fmla="*/ 721273 w 1437629"/>
              <a:gd name="connsiteY10" fmla="*/ 5 h 159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629" h="1590425">
                <a:moveTo>
                  <a:pt x="721273" y="5"/>
                </a:moveTo>
                <a:cubicBezTo>
                  <a:pt x="1049734" y="-1365"/>
                  <a:pt x="1320597" y="232349"/>
                  <a:pt x="1413365" y="532277"/>
                </a:cubicBezTo>
                <a:cubicBezTo>
                  <a:pt x="1423387" y="566028"/>
                  <a:pt x="1428134" y="600306"/>
                  <a:pt x="1432882" y="634056"/>
                </a:cubicBezTo>
                <a:cubicBezTo>
                  <a:pt x="1437629" y="667806"/>
                  <a:pt x="1437629" y="701556"/>
                  <a:pt x="1437629" y="730560"/>
                </a:cubicBezTo>
                <a:cubicBezTo>
                  <a:pt x="1437629" y="866089"/>
                  <a:pt x="1389629" y="1001090"/>
                  <a:pt x="1302070" y="1117106"/>
                </a:cubicBezTo>
                <a:cubicBezTo>
                  <a:pt x="1273586" y="1160876"/>
                  <a:pt x="1234554" y="1204118"/>
                  <a:pt x="1191301" y="1243142"/>
                </a:cubicBezTo>
                <a:cubicBezTo>
                  <a:pt x="944447" y="1421913"/>
                  <a:pt x="601065" y="1740958"/>
                  <a:pt x="281947" y="1508925"/>
                </a:cubicBezTo>
                <a:cubicBezTo>
                  <a:pt x="49861" y="1330154"/>
                  <a:pt x="35620" y="1030094"/>
                  <a:pt x="1862" y="779076"/>
                </a:cubicBezTo>
                <a:cubicBezTo>
                  <a:pt x="-2885" y="725814"/>
                  <a:pt x="1862" y="667806"/>
                  <a:pt x="11356" y="609798"/>
                </a:cubicBezTo>
                <a:cubicBezTo>
                  <a:pt x="49861" y="333995"/>
                  <a:pt x="262958" y="73485"/>
                  <a:pt x="577329" y="15477"/>
                </a:cubicBezTo>
                <a:cubicBezTo>
                  <a:pt x="626252" y="5194"/>
                  <a:pt x="674350" y="201"/>
                  <a:pt x="721273" y="5"/>
                </a:cubicBezTo>
                <a:close/>
              </a:path>
            </a:pathLst>
          </a:custGeom>
          <a:solidFill>
            <a:schemeClr val="accent5"/>
          </a:solidFill>
        </p:spPr>
        <p:txBody>
          <a:bodyPr wrap="square">
            <a:noAutofit/>
          </a:bodyPr>
          <a:lstStyle>
            <a:lvl1pPr marL="0" indent="0">
              <a:buNone/>
              <a:defRPr/>
            </a:lvl1pPr>
          </a:lstStyle>
          <a:p>
            <a:r>
              <a:rPr lang="en-US" dirty="0"/>
              <a:t> </a:t>
            </a:r>
          </a:p>
        </p:txBody>
      </p:sp>
    </p:spTree>
    <p:extLst>
      <p:ext uri="{BB962C8B-B14F-4D97-AF65-F5344CB8AC3E}">
        <p14:creationId xmlns:p14="http://schemas.microsoft.com/office/powerpoint/2010/main" val="135041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97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idebar: Headline + 3 columns">
    <p:spTree>
      <p:nvGrpSpPr>
        <p:cNvPr id="1" name=""/>
        <p:cNvGrpSpPr/>
        <p:nvPr/>
      </p:nvGrpSpPr>
      <p:grpSpPr>
        <a:xfrm>
          <a:off x="0" y="0"/>
          <a:ext cx="0" cy="0"/>
          <a:chOff x="0" y="0"/>
          <a:chExt cx="0" cy="0"/>
        </a:xfrm>
      </p:grpSpPr>
      <p:sp>
        <p:nvSpPr>
          <p:cNvPr id="42" name="Freeform 1">
            <a:extLst>
              <a:ext uri="{FF2B5EF4-FFF2-40B4-BE49-F238E27FC236}">
                <a16:creationId xmlns:a16="http://schemas.microsoft.com/office/drawing/2014/main" id="{2B8F3018-E6C7-5948-8528-364C24CEF3B4}"/>
              </a:ext>
            </a:extLst>
          </p:cNvPr>
          <p:cNvSpPr>
            <a:spLocks noChangeArrowheads="1"/>
          </p:cNvSpPr>
          <p:nvPr userDrawn="1"/>
        </p:nvSpPr>
        <p:spPr bwMode="auto">
          <a:xfrm>
            <a:off x="844940" y="1353364"/>
            <a:ext cx="1441041" cy="1808274"/>
          </a:xfrm>
          <a:custGeom>
            <a:avLst/>
            <a:gdLst>
              <a:gd name="T0" fmla="*/ 2264 w 2732"/>
              <a:gd name="T1" fmla="*/ 2484 h 3429"/>
              <a:gd name="T2" fmla="*/ 2264 w 2732"/>
              <a:gd name="T3" fmla="*/ 2484 h 3429"/>
              <a:gd name="T4" fmla="*/ 540 w 2732"/>
              <a:gd name="T5" fmla="*/ 2988 h 3429"/>
              <a:gd name="T6" fmla="*/ 9 w 2732"/>
              <a:gd name="T7" fmla="*/ 1604 h 3429"/>
              <a:gd name="T8" fmla="*/ 27 w 2732"/>
              <a:gd name="T9" fmla="*/ 1283 h 3429"/>
              <a:gd name="T10" fmla="*/ 1100 w 2732"/>
              <a:gd name="T11" fmla="*/ 156 h 3429"/>
              <a:gd name="T12" fmla="*/ 2685 w 2732"/>
              <a:gd name="T13" fmla="*/ 1136 h 3429"/>
              <a:gd name="T14" fmla="*/ 2722 w 2732"/>
              <a:gd name="T15" fmla="*/ 1329 h 3429"/>
              <a:gd name="T16" fmla="*/ 2731 w 2732"/>
              <a:gd name="T17" fmla="*/ 1512 h 3429"/>
              <a:gd name="T18" fmla="*/ 2474 w 2732"/>
              <a:gd name="T19" fmla="*/ 2245 h 3429"/>
              <a:gd name="T20" fmla="*/ 2264 w 2732"/>
              <a:gd name="T21" fmla="*/ 2484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2" h="3429">
                <a:moveTo>
                  <a:pt x="2264" y="2484"/>
                </a:moveTo>
                <a:lnTo>
                  <a:pt x="2264" y="2484"/>
                </a:lnTo>
                <a:cubicBezTo>
                  <a:pt x="1796" y="2823"/>
                  <a:pt x="1145" y="3428"/>
                  <a:pt x="540" y="2988"/>
                </a:cubicBezTo>
                <a:cubicBezTo>
                  <a:pt x="100" y="2649"/>
                  <a:pt x="73" y="2080"/>
                  <a:pt x="9" y="1604"/>
                </a:cubicBezTo>
                <a:cubicBezTo>
                  <a:pt x="0" y="1503"/>
                  <a:pt x="9" y="1393"/>
                  <a:pt x="27" y="1283"/>
                </a:cubicBezTo>
                <a:cubicBezTo>
                  <a:pt x="100" y="760"/>
                  <a:pt x="504" y="266"/>
                  <a:pt x="1100" y="156"/>
                </a:cubicBezTo>
                <a:cubicBezTo>
                  <a:pt x="1842" y="0"/>
                  <a:pt x="2484" y="486"/>
                  <a:pt x="2685" y="1136"/>
                </a:cubicBezTo>
                <a:cubicBezTo>
                  <a:pt x="2704" y="1200"/>
                  <a:pt x="2713" y="1265"/>
                  <a:pt x="2722" y="1329"/>
                </a:cubicBezTo>
                <a:cubicBezTo>
                  <a:pt x="2731" y="1393"/>
                  <a:pt x="2731" y="1457"/>
                  <a:pt x="2731" y="1512"/>
                </a:cubicBezTo>
                <a:cubicBezTo>
                  <a:pt x="2731" y="1769"/>
                  <a:pt x="2640" y="2025"/>
                  <a:pt x="2474" y="2245"/>
                </a:cubicBezTo>
                <a:cubicBezTo>
                  <a:pt x="2420" y="2328"/>
                  <a:pt x="2346" y="2410"/>
                  <a:pt x="2264" y="2484"/>
                </a:cubicBezTo>
              </a:path>
            </a:pathLst>
          </a:custGeom>
          <a:solidFill>
            <a:schemeClr val="accent1"/>
          </a:solidFill>
          <a:ln>
            <a:noFill/>
          </a:ln>
          <a:effectLst/>
        </p:spPr>
        <p:txBody>
          <a:bodyPr wrap="none" anchor="ctr"/>
          <a:lstStyle/>
          <a:p>
            <a:endParaRPr lang="en-US" sz="1800" dirty="0"/>
          </a:p>
        </p:txBody>
      </p:sp>
      <p:graphicFrame>
        <p:nvGraphicFramePr>
          <p:cNvPr id="3" name="Object 2" hidden="1">
            <a:extLst>
              <a:ext uri="{FF2B5EF4-FFF2-40B4-BE49-F238E27FC236}">
                <a16:creationId xmlns:a16="http://schemas.microsoft.com/office/drawing/2014/main" id="{61BB1598-F334-40FE-96D9-B67E510C4A5F}"/>
              </a:ext>
            </a:extLst>
          </p:cNvPr>
          <p:cNvGraphicFramePr>
            <a:graphicFrameLocks noChangeAspect="1"/>
          </p:cNvGraphicFramePr>
          <p:nvPr userDrawn="1">
            <p:custDataLst>
              <p:tags r:id="rId2"/>
            </p:custDataLst>
            <p:extLst>
              <p:ext uri="{D42A27DB-BD31-4B8C-83A1-F6EECF244321}">
                <p14:modId xmlns:p14="http://schemas.microsoft.com/office/powerpoint/2010/main" val="3207845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61BB1598-F334-40FE-96D9-B67E510C4A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03574E-7474-4B2F-BA46-9F8A7FEC8CFB}"/>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3503769"/>
            <a:ext cx="2103120" cy="1132237"/>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a:extLst>
              <a:ext uri="{FF2B5EF4-FFF2-40B4-BE49-F238E27FC236}">
                <a16:creationId xmlns:a16="http://schemas.microsoft.com/office/drawing/2014/main" id="{97098D04-7ACF-482F-ACF9-69398D9C08E3}"/>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7A1300FD-ED04-4341-AB6A-5E55718E4C5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503A8512-B8CB-4D99-855F-F447A5435AE9}"/>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21" name="Picture 20">
            <a:extLst>
              <a:ext uri="{FF2B5EF4-FFF2-40B4-BE49-F238E27FC236}">
                <a16:creationId xmlns:a16="http://schemas.microsoft.com/office/drawing/2014/main" id="{870607B4-7327-4C6F-8E45-0DE8B9FB72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23" name="Title 1">
            <a:extLst>
              <a:ext uri="{FF2B5EF4-FFF2-40B4-BE49-F238E27FC236}">
                <a16:creationId xmlns:a16="http://schemas.microsoft.com/office/drawing/2014/main" id="{16C949D5-F1B9-4E6D-9F63-7C9349E465C6}"/>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37" name="Picture Placeholder 15">
            <a:extLst>
              <a:ext uri="{FF2B5EF4-FFF2-40B4-BE49-F238E27FC236}">
                <a16:creationId xmlns:a16="http://schemas.microsoft.com/office/drawing/2014/main" id="{4192F3B8-DF65-364D-BE84-545BCEE96EC4}"/>
              </a:ext>
            </a:extLst>
          </p:cNvPr>
          <p:cNvSpPr>
            <a:spLocks noGrp="1"/>
          </p:cNvSpPr>
          <p:nvPr>
            <p:ph type="pic" sz="quarter" idx="11" hasCustomPrompt="1"/>
          </p:nvPr>
        </p:nvSpPr>
        <p:spPr>
          <a:xfrm>
            <a:off x="716793" y="1402771"/>
            <a:ext cx="1437629" cy="1590425"/>
          </a:xfrm>
          <a:custGeom>
            <a:avLst/>
            <a:gdLst>
              <a:gd name="connsiteX0" fmla="*/ 721273 w 1437629"/>
              <a:gd name="connsiteY0" fmla="*/ 5 h 1590425"/>
              <a:gd name="connsiteX1" fmla="*/ 1413365 w 1437629"/>
              <a:gd name="connsiteY1" fmla="*/ 532277 h 1590425"/>
              <a:gd name="connsiteX2" fmla="*/ 1432882 w 1437629"/>
              <a:gd name="connsiteY2" fmla="*/ 634056 h 1590425"/>
              <a:gd name="connsiteX3" fmla="*/ 1437629 w 1437629"/>
              <a:gd name="connsiteY3" fmla="*/ 730560 h 1590425"/>
              <a:gd name="connsiteX4" fmla="*/ 1302070 w 1437629"/>
              <a:gd name="connsiteY4" fmla="*/ 1117106 h 1590425"/>
              <a:gd name="connsiteX5" fmla="*/ 1191301 w 1437629"/>
              <a:gd name="connsiteY5" fmla="*/ 1243142 h 1590425"/>
              <a:gd name="connsiteX6" fmla="*/ 281947 w 1437629"/>
              <a:gd name="connsiteY6" fmla="*/ 1508925 h 1590425"/>
              <a:gd name="connsiteX7" fmla="*/ 1862 w 1437629"/>
              <a:gd name="connsiteY7" fmla="*/ 779076 h 1590425"/>
              <a:gd name="connsiteX8" fmla="*/ 11356 w 1437629"/>
              <a:gd name="connsiteY8" fmla="*/ 609798 h 1590425"/>
              <a:gd name="connsiteX9" fmla="*/ 577329 w 1437629"/>
              <a:gd name="connsiteY9" fmla="*/ 15477 h 1590425"/>
              <a:gd name="connsiteX10" fmla="*/ 721273 w 1437629"/>
              <a:gd name="connsiteY10" fmla="*/ 5 h 159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629" h="1590425">
                <a:moveTo>
                  <a:pt x="721273" y="5"/>
                </a:moveTo>
                <a:cubicBezTo>
                  <a:pt x="1049734" y="-1365"/>
                  <a:pt x="1320597" y="232349"/>
                  <a:pt x="1413365" y="532277"/>
                </a:cubicBezTo>
                <a:cubicBezTo>
                  <a:pt x="1423387" y="566028"/>
                  <a:pt x="1428134" y="600306"/>
                  <a:pt x="1432882" y="634056"/>
                </a:cubicBezTo>
                <a:cubicBezTo>
                  <a:pt x="1437629" y="667806"/>
                  <a:pt x="1437629" y="701556"/>
                  <a:pt x="1437629" y="730560"/>
                </a:cubicBezTo>
                <a:cubicBezTo>
                  <a:pt x="1437629" y="866089"/>
                  <a:pt x="1389629" y="1001090"/>
                  <a:pt x="1302070" y="1117106"/>
                </a:cubicBezTo>
                <a:cubicBezTo>
                  <a:pt x="1273586" y="1160876"/>
                  <a:pt x="1234554" y="1204118"/>
                  <a:pt x="1191301" y="1243142"/>
                </a:cubicBezTo>
                <a:cubicBezTo>
                  <a:pt x="944447" y="1421913"/>
                  <a:pt x="601065" y="1740958"/>
                  <a:pt x="281947" y="1508925"/>
                </a:cubicBezTo>
                <a:cubicBezTo>
                  <a:pt x="49861" y="1330154"/>
                  <a:pt x="35620" y="1030094"/>
                  <a:pt x="1862" y="779076"/>
                </a:cubicBezTo>
                <a:cubicBezTo>
                  <a:pt x="-2885" y="725814"/>
                  <a:pt x="1862" y="667806"/>
                  <a:pt x="11356" y="609798"/>
                </a:cubicBezTo>
                <a:cubicBezTo>
                  <a:pt x="49861" y="333995"/>
                  <a:pt x="262958" y="73485"/>
                  <a:pt x="577329" y="15477"/>
                </a:cubicBezTo>
                <a:cubicBezTo>
                  <a:pt x="626252" y="5194"/>
                  <a:pt x="674350" y="201"/>
                  <a:pt x="721273" y="5"/>
                </a:cubicBezTo>
                <a:close/>
              </a:path>
            </a:pathLst>
          </a:custGeom>
          <a:solidFill>
            <a:schemeClr val="accent5"/>
          </a:solidFill>
        </p:spPr>
        <p:txBody>
          <a:bodyPr wrap="square">
            <a:noAutofit/>
          </a:bodyPr>
          <a:lstStyle>
            <a:lvl1pPr marL="0" indent="0">
              <a:buNone/>
              <a:defRPr/>
            </a:lvl1pPr>
          </a:lstStyle>
          <a:p>
            <a:r>
              <a:rPr lang="en-US" dirty="0"/>
              <a:t> </a:t>
            </a:r>
          </a:p>
        </p:txBody>
      </p:sp>
    </p:spTree>
    <p:extLst>
      <p:ext uri="{BB962C8B-B14F-4D97-AF65-F5344CB8AC3E}">
        <p14:creationId xmlns:p14="http://schemas.microsoft.com/office/powerpoint/2010/main" val="2070300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3952A8-A4D1-4A53-9D1B-BE1C127DD177}"/>
              </a:ext>
            </a:extLst>
          </p:cNvPr>
          <p:cNvGraphicFramePr>
            <a:graphicFrameLocks noChangeAspect="1"/>
          </p:cNvGraphicFramePr>
          <p:nvPr userDrawn="1">
            <p:custDataLst>
              <p:tags r:id="rId2"/>
            </p:custDataLst>
            <p:extLst>
              <p:ext uri="{D42A27DB-BD31-4B8C-83A1-F6EECF244321}">
                <p14:modId xmlns:p14="http://schemas.microsoft.com/office/powerpoint/2010/main" val="2597408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813952A8-A4D1-4A53-9D1B-BE1C127DD1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32A89D-DF31-4CBB-B13A-908F506C7B1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74C3B40E-D517-477C-BEC9-861FD7E490F5}"/>
              </a:ext>
            </a:extLst>
          </p:cNvPr>
          <p:cNvGrpSpPr/>
          <p:nvPr userDrawn="1"/>
        </p:nvGrpSpPr>
        <p:grpSpPr>
          <a:xfrm>
            <a:off x="2784347" y="1154133"/>
            <a:ext cx="2697480" cy="3989371"/>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34F93208-D0C2-4CED-9396-138F78FD7D8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58BD208D-50E5-4494-B978-019D14097C4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A6B515C7-AB2B-4179-83EC-9825C49D4C5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21" name="Picture 20">
            <a:extLst>
              <a:ext uri="{FF2B5EF4-FFF2-40B4-BE49-F238E27FC236}">
                <a16:creationId xmlns:a16="http://schemas.microsoft.com/office/drawing/2014/main" id="{B4B13C38-DF68-4D31-A527-A68D20E0274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2" name="Straight Connector 21">
            <a:extLst>
              <a:ext uri="{FF2B5EF4-FFF2-40B4-BE49-F238E27FC236}">
                <a16:creationId xmlns:a16="http://schemas.microsoft.com/office/drawing/2014/main" id="{E5ACB78C-05F4-444C-A0E1-45F70B1140F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0">
            <a:extLst>
              <a:ext uri="{FF2B5EF4-FFF2-40B4-BE49-F238E27FC236}">
                <a16:creationId xmlns:a16="http://schemas.microsoft.com/office/drawing/2014/main" id="{FDCE8F81-B1BE-481A-A388-157E9B695B03}"/>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80457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dirty="0"/>
              <a:t>Footer in sentence case</a:t>
            </a:r>
          </a:p>
        </p:txBody>
      </p:sp>
      <p:pic>
        <p:nvPicPr>
          <p:cNvPr id="11" name="Picture 10">
            <a:extLst>
              <a:ext uri="{FF2B5EF4-FFF2-40B4-BE49-F238E27FC236}">
                <a16:creationId xmlns:a16="http://schemas.microsoft.com/office/drawing/2014/main" id="{C9EAED03-FD40-4C12-BB69-3BC276DD62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2" name="Picture Placeholder 10">
            <a:extLst>
              <a:ext uri="{FF2B5EF4-FFF2-40B4-BE49-F238E27FC236}">
                <a16:creationId xmlns:a16="http://schemas.microsoft.com/office/drawing/2014/main" id="{D4AE4277-BDDB-47EC-8079-154D20AFA849}"/>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dirty="0"/>
          </a:p>
        </p:txBody>
      </p:sp>
      <p:sp>
        <p:nvSpPr>
          <p:cNvPr id="21" name="Rectangle 20">
            <a:extLst>
              <a:ext uri="{FF2B5EF4-FFF2-40B4-BE49-F238E27FC236}">
                <a16:creationId xmlns:a16="http://schemas.microsoft.com/office/drawing/2014/main" id="{B141E85A-1790-4DF0-B46A-D9E8C07B8E3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22" name="Line">
            <a:extLst>
              <a:ext uri="{FF2B5EF4-FFF2-40B4-BE49-F238E27FC236}">
                <a16:creationId xmlns:a16="http://schemas.microsoft.com/office/drawing/2014/main" id="{69B407B2-7763-4D5C-93EB-C127E8A9964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3" name="Freeform 5">
            <a:extLst>
              <a:ext uri="{FF2B5EF4-FFF2-40B4-BE49-F238E27FC236}">
                <a16:creationId xmlns:a16="http://schemas.microsoft.com/office/drawing/2014/main" id="{584D058B-5B09-436D-B588-DD140C66520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24" name="Picture 23">
            <a:extLst>
              <a:ext uri="{FF2B5EF4-FFF2-40B4-BE49-F238E27FC236}">
                <a16:creationId xmlns:a16="http://schemas.microsoft.com/office/drawing/2014/main" id="{571AC92E-F024-4688-B87F-CF46AAC7F4E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Tree>
    <p:extLst>
      <p:ext uri="{BB962C8B-B14F-4D97-AF65-F5344CB8AC3E}">
        <p14:creationId xmlns:p14="http://schemas.microsoft.com/office/powerpoint/2010/main" val="84172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E8B08-EA69-4458-9637-876FC51604D5}"/>
              </a:ext>
            </a:extLst>
          </p:cNvPr>
          <p:cNvGraphicFramePr>
            <a:graphicFrameLocks noChangeAspect="1"/>
          </p:cNvGraphicFramePr>
          <p:nvPr userDrawn="1">
            <p:custDataLst>
              <p:tags r:id="rId2"/>
            </p:custDataLst>
            <p:extLst>
              <p:ext uri="{D42A27DB-BD31-4B8C-83A1-F6EECF244321}">
                <p14:modId xmlns:p14="http://schemas.microsoft.com/office/powerpoint/2010/main" val="37485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F3CE8B08-EA69-4458-9637-876FC51604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FC6751-1AB1-41C7-AA2E-FC23F0A7CE68}"/>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7" name="Straight Connector 6">
            <a:extLst>
              <a:ext uri="{FF2B5EF4-FFF2-40B4-BE49-F238E27FC236}">
                <a16:creationId xmlns:a16="http://schemas.microsoft.com/office/drawing/2014/main" id="{E141ABD1-B2B8-4B31-865E-55BB429D5359}"/>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80ED1346-C3FD-4BAE-A1A9-0BDB05DCD9E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0" name="Title 1">
            <a:extLst>
              <a:ext uri="{FF2B5EF4-FFF2-40B4-BE49-F238E27FC236}">
                <a16:creationId xmlns:a16="http://schemas.microsoft.com/office/drawing/2014/main" id="{B9F58FE6-8921-4C4F-AFA6-491A979C02B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201549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E13226-0CC3-4F98-850D-52A27DF6C5F8}"/>
              </a:ext>
            </a:extLst>
          </p:cNvPr>
          <p:cNvGraphicFramePr>
            <a:graphicFrameLocks noChangeAspect="1"/>
          </p:cNvGraphicFramePr>
          <p:nvPr userDrawn="1">
            <p:custDataLst>
              <p:tags r:id="rId2"/>
            </p:custDataLst>
            <p:extLst>
              <p:ext uri="{D42A27DB-BD31-4B8C-83A1-F6EECF244321}">
                <p14:modId xmlns:p14="http://schemas.microsoft.com/office/powerpoint/2010/main" val="1095475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CFE13226-0CC3-4F98-850D-52A27DF6C5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AB827C-93C5-47F2-A706-8600E39913C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34E675A3-6905-4528-B343-87BF1DC2A04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6A329D7-02B3-4992-83CF-B2C0D43D323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sp>
        <p:nvSpPr>
          <p:cNvPr id="14" name="Text Placeholder 10">
            <a:extLst>
              <a:ext uri="{FF2B5EF4-FFF2-40B4-BE49-F238E27FC236}">
                <a16:creationId xmlns:a16="http://schemas.microsoft.com/office/drawing/2014/main" id="{5863C8FE-E5C3-4BAD-9BB0-48E974CCD9AB}"/>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5131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Blank with footers">
    <p:spTree>
      <p:nvGrpSpPr>
        <p:cNvPr id="1" name=""/>
        <p:cNvGrpSpPr/>
        <p:nvPr/>
      </p:nvGrpSpPr>
      <p:grpSpPr>
        <a:xfrm>
          <a:off x="0" y="0"/>
          <a:ext cx="0" cy="0"/>
          <a:chOff x="0" y="0"/>
          <a:chExt cx="0" cy="0"/>
        </a:xfrm>
      </p:grpSpPr>
      <p:sp>
        <p:nvSpPr>
          <p:cNvPr id="2" name="ADP MAS Executive Overview…">
            <a:extLst>
              <a:ext uri="{FF2B5EF4-FFF2-40B4-BE49-F238E27FC236}">
                <a16:creationId xmlns:a16="http://schemas.microsoft.com/office/drawing/2014/main" id="{76CC430A-A83B-441F-9899-03072F69D0C4}"/>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sp>
        <p:nvSpPr>
          <p:cNvPr id="3" name="Freeform 5">
            <a:extLst>
              <a:ext uri="{FF2B5EF4-FFF2-40B4-BE49-F238E27FC236}">
                <a16:creationId xmlns:a16="http://schemas.microsoft.com/office/drawing/2014/main" id="{DE31329D-88B6-45C4-8073-2C24DC944D73}"/>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4" name="Footer Placeholder 3">
            <a:extLst>
              <a:ext uri="{FF2B5EF4-FFF2-40B4-BE49-F238E27FC236}">
                <a16:creationId xmlns:a16="http://schemas.microsoft.com/office/drawing/2014/main" id="{1CE6FEA1-8E85-4A85-AD50-D9646BA9576E}"/>
              </a:ext>
            </a:extLst>
          </p:cNvPr>
          <p:cNvSpPr>
            <a:spLocks noGrp="1"/>
          </p:cNvSpPr>
          <p:nvPr>
            <p:ph type="ftr" sz="quarter" idx="10"/>
          </p:nvPr>
        </p:nvSpPr>
        <p:spPr/>
        <p:txBody>
          <a:bodyPr/>
          <a:lstStyle/>
          <a:p>
            <a:r>
              <a:rPr lang="en-US" dirty="0"/>
              <a:t>Footer in sentence case</a:t>
            </a:r>
          </a:p>
        </p:txBody>
      </p:sp>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2857000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dirty="0"/>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711238"/>
          </a:xfrm>
        </p:spPr>
        <p:txBody>
          <a:bodyPr/>
          <a:lstStyle>
            <a:lvl1pPr>
              <a:lnSpc>
                <a:spcPct val="90000"/>
              </a:lnSpc>
              <a:spcAft>
                <a:spcPts val="4800"/>
              </a:spcAft>
              <a:defRPr sz="4800">
                <a:solidFill>
                  <a:schemeClr val="bg1"/>
                </a:solidFill>
              </a:defRPr>
            </a:lvl1pPr>
            <a:lvl2pPr marL="0" indent="0">
              <a:lnSpc>
                <a:spcPct val="100000"/>
              </a:lnSpc>
              <a:buNone/>
              <a:defRPr sz="2800">
                <a:solidFill>
                  <a:schemeClr val="bg1"/>
                </a:solidFill>
              </a:defRPr>
            </a:lvl2pPr>
            <a:lvl3pPr>
              <a:defRPr b="0">
                <a:solidFill>
                  <a:schemeClr val="bg1"/>
                </a:solidFill>
              </a:defRPr>
            </a:lvl3pPr>
          </a:lstStyle>
          <a:p>
            <a:pPr lvl="0"/>
            <a:r>
              <a:rPr lang="en-US" dirty="0"/>
              <a:t>Headline</a:t>
            </a:r>
          </a:p>
          <a:p>
            <a:pPr lvl="1"/>
            <a:r>
              <a:rPr lang="en-US" dirty="0"/>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66675"/>
            <a:ext cx="3840480" cy="276999"/>
          </a:xfrm>
        </p:spPr>
        <p:txBody>
          <a:bodyPr anchor="b"/>
          <a:lstStyle>
            <a:lvl1pPr>
              <a:defRPr sz="1800">
                <a:solidFill>
                  <a:schemeClr val="bg1"/>
                </a:solidFill>
              </a:defRPr>
            </a:lvl1pPr>
            <a:lvl2pPr marL="0" indent="0">
              <a:buNone/>
              <a:defRPr sz="1600">
                <a:solidFill>
                  <a:schemeClr val="bg1"/>
                </a:solidFill>
              </a:defRPr>
            </a:lvl2pPr>
            <a:lvl3pPr>
              <a:defRPr sz="1600" b="0">
                <a:solidFill>
                  <a:schemeClr val="bg1"/>
                </a:solidFill>
              </a:defRPr>
            </a:lvl3pPr>
          </a:lstStyle>
          <a:p>
            <a:pPr lvl="0"/>
            <a:r>
              <a:rPr lang="en-US" dirty="0"/>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dirty="0"/>
          </a:p>
        </p:txBody>
      </p:sp>
      <p:pic>
        <p:nvPicPr>
          <p:cNvPr id="14" name="Picture 1" descr="Picture 1">
            <a:extLst>
              <a:ext uri="{FF2B5EF4-FFF2-40B4-BE49-F238E27FC236}">
                <a16:creationId xmlns:a16="http://schemas.microsoft.com/office/drawing/2014/main" id="{42BD9E4D-B0E5-4912-85C8-231F50F0A85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73" t="28821" r="17436" b="-1"/>
          <a:stretch/>
        </p:blipFill>
        <p:spPr>
          <a:xfrm>
            <a:off x="6108701" y="821534"/>
            <a:ext cx="3035299" cy="2218771"/>
          </a:xfrm>
          <a:prstGeom prst="rect">
            <a:avLst/>
          </a:prstGeom>
          <a:ln w="12700">
            <a:miter lim="400000"/>
          </a:ln>
        </p:spPr>
      </p:pic>
      <p:cxnSp>
        <p:nvCxnSpPr>
          <p:cNvPr id="18" name="Straight Connector 17">
            <a:extLst>
              <a:ext uri="{FF2B5EF4-FFF2-40B4-BE49-F238E27FC236}">
                <a16:creationId xmlns:a16="http://schemas.microsoft.com/office/drawing/2014/main" id="{1A59F4C6-C611-4359-81BA-7C6F65AA7725}"/>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200E9DC-7BD1-453C-A0E2-41740EF4F503}"/>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5B755E4-B0A7-49C2-822E-A31A407F5401}"/>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27E75DC-2976-4BBD-9F57-B8620462652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6136" y="4325115"/>
            <a:ext cx="868680" cy="618907"/>
          </a:xfrm>
          <a:prstGeom prst="rect">
            <a:avLst/>
          </a:prstGeom>
        </p:spPr>
      </p:pic>
    </p:spTree>
    <p:extLst>
      <p:ext uri="{BB962C8B-B14F-4D97-AF65-F5344CB8AC3E}">
        <p14:creationId xmlns:p14="http://schemas.microsoft.com/office/powerpoint/2010/main" val="191942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32" name="Picture 31">
            <a:extLst>
              <a:ext uri="{FF2B5EF4-FFF2-40B4-BE49-F238E27FC236}">
                <a16:creationId xmlns:a16="http://schemas.microsoft.com/office/drawing/2014/main" id="{F98AC6D1-6ABB-40AC-88F9-0AB88141E6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569" t="6145" r="5001"/>
          <a:stretch/>
        </p:blipFill>
        <p:spPr>
          <a:xfrm>
            <a:off x="7436274" y="3"/>
            <a:ext cx="1707727" cy="2862761"/>
          </a:xfrm>
          <a:prstGeom prst="rect">
            <a:avLst/>
          </a:prstGeom>
        </p:spPr>
      </p:pic>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a:t>
            </a:r>
            <a:r>
              <a:rPr lang="en-US" sz="600" dirty="0">
                <a:solidFill>
                  <a:schemeClr val="bg1"/>
                </a:solidFill>
                <a:latin typeface="+mn-lt"/>
              </a:rPr>
              <a:t>2020</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dirty="0"/>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lvl1pPr>
              <a:defRPr>
                <a:solidFill>
                  <a:schemeClr val="bg1"/>
                </a:solidFill>
              </a:defRPr>
            </a:lvl1pPr>
          </a:lstStyle>
          <a:p>
            <a:r>
              <a:rPr lang="en-US" dirty="0"/>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364219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B">
    <p:bg>
      <p:bgPr>
        <a:solidFill>
          <a:srgbClr val="FAC8BF"/>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endParaRPr>
          </a:p>
        </p:txBody>
      </p:sp>
      <p:pic>
        <p:nvPicPr>
          <p:cNvPr id="50" name="Picture 49">
            <a:extLst>
              <a:ext uri="{FF2B5EF4-FFF2-40B4-BE49-F238E27FC236}">
                <a16:creationId xmlns:a16="http://schemas.microsoft.com/office/drawing/2014/main" id="{FE1674A3-80F2-4664-B5FB-3500016F9399}"/>
              </a:ext>
            </a:extLst>
          </p:cNvPr>
          <p:cNvPicPr>
            <a:picLocks noChangeAspect="1"/>
          </p:cNvPicPr>
          <p:nvPr userDrawn="1"/>
        </p:nvPicPr>
        <p:blipFill rotWithShape="1">
          <a:blip r:embed="rId2"/>
          <a:srcRect l="22107" t="22250"/>
          <a:stretch/>
        </p:blipFill>
        <p:spPr>
          <a:xfrm>
            <a:off x="5974733" y="2567587"/>
            <a:ext cx="1896097" cy="2184398"/>
          </a:xfrm>
          <a:prstGeom prst="rect">
            <a:avLst/>
          </a:prstGeom>
        </p:spPr>
      </p:pic>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711238"/>
          </a:xfrm>
        </p:spPr>
        <p:txBody>
          <a:bodyPr/>
          <a:lstStyle>
            <a:lvl1pPr>
              <a:lnSpc>
                <a:spcPct val="90000"/>
              </a:lnSpc>
              <a:spcAft>
                <a:spcPts val="4800"/>
              </a:spcAft>
              <a:defRPr sz="4800">
                <a:solidFill>
                  <a:schemeClr val="accent1"/>
                </a:solidFill>
              </a:defRPr>
            </a:lvl1pPr>
            <a:lvl2pPr marL="0" indent="0">
              <a:lnSpc>
                <a:spcPct val="100000"/>
              </a:lnSpc>
              <a:buNone/>
              <a:defRPr sz="2800">
                <a:solidFill>
                  <a:schemeClr val="accent1"/>
                </a:solidFill>
              </a:defRPr>
            </a:lvl2pPr>
            <a:lvl3pPr>
              <a:defRPr b="0">
                <a:solidFill>
                  <a:schemeClr val="bg1"/>
                </a:solidFill>
              </a:defRPr>
            </a:lvl3pPr>
          </a:lstStyle>
          <a:p>
            <a:pPr lvl="0"/>
            <a:r>
              <a:rPr lang="en-US" dirty="0"/>
              <a:t>Headline</a:t>
            </a:r>
          </a:p>
          <a:p>
            <a:pPr lvl="1"/>
            <a:r>
              <a:rPr lang="en-US" dirty="0"/>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66675"/>
            <a:ext cx="5029200" cy="276999"/>
          </a:xfrm>
        </p:spPr>
        <p:txBody>
          <a:bodyPr anchor="b"/>
          <a:lstStyle>
            <a:lvl1pPr>
              <a:defRPr sz="1800">
                <a:solidFill>
                  <a:schemeClr val="accent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dirty="0"/>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15" name="Picture 14">
            <a:extLst>
              <a:ext uri="{FF2B5EF4-FFF2-40B4-BE49-F238E27FC236}">
                <a16:creationId xmlns:a16="http://schemas.microsoft.com/office/drawing/2014/main" id="{EE352F56-6B00-49BC-9732-9412C6D660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3528" y="1572771"/>
            <a:ext cx="1005840" cy="716629"/>
          </a:xfrm>
          <a:prstGeom prst="rect">
            <a:avLst/>
          </a:prstGeom>
        </p:spPr>
      </p:pic>
    </p:spTree>
    <p:extLst>
      <p:ext uri="{BB962C8B-B14F-4D97-AF65-F5344CB8AC3E}">
        <p14:creationId xmlns:p14="http://schemas.microsoft.com/office/powerpoint/2010/main" val="265653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p>
            <a:r>
              <a:rPr lang="en-US" dirty="0"/>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pic>
        <p:nvPicPr>
          <p:cNvPr id="13" name="Picture 1" descr="Picture 1">
            <a:extLst>
              <a:ext uri="{FF2B5EF4-FFF2-40B4-BE49-F238E27FC236}">
                <a16:creationId xmlns:a16="http://schemas.microsoft.com/office/drawing/2014/main" id="{65191009-6F43-4BEF-968F-333A220DACB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227" t="6406" r="5280"/>
          <a:stretch/>
        </p:blipFill>
        <p:spPr>
          <a:xfrm>
            <a:off x="7430522" y="1"/>
            <a:ext cx="1713473" cy="2860717"/>
          </a:xfrm>
          <a:prstGeom prst="rect">
            <a:avLst/>
          </a:prstGeom>
          <a:ln w="12700">
            <a:miter lim="400000"/>
          </a:ln>
        </p:spPr>
      </p:pic>
    </p:spTree>
    <p:extLst>
      <p:ext uri="{BB962C8B-B14F-4D97-AF65-F5344CB8AC3E}">
        <p14:creationId xmlns:p14="http://schemas.microsoft.com/office/powerpoint/2010/main" val="69965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6923CBE-4A1D-4F64-BA89-BF0D7E38C500}"/>
              </a:ext>
            </a:extLst>
          </p:cNvPr>
          <p:cNvSpPr/>
          <p:nvPr userDrawn="1"/>
        </p:nvSpPr>
        <p:spPr>
          <a:xfrm>
            <a:off x="218487" y="4757896"/>
            <a:ext cx="7352747" cy="385604"/>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8" name="Rectangle 17">
            <a:extLst>
              <a:ext uri="{FF2B5EF4-FFF2-40B4-BE49-F238E27FC236}">
                <a16:creationId xmlns:a16="http://schemas.microsoft.com/office/drawing/2014/main" id="{C0A38496-4CCE-4D73-953A-FBF333A58AFE}"/>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783E5784-AF0B-4478-8E38-FCD1D94703B0}"/>
              </a:ext>
            </a:extLst>
          </p:cNvPr>
          <p:cNvSpPr/>
          <p:nvPr userDrawn="1"/>
        </p:nvSpPr>
        <p:spPr>
          <a:xfrm>
            <a:off x="7430522" y="4757896"/>
            <a:ext cx="72604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p>
            <a:r>
              <a:rPr lang="en-US" dirty="0"/>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180519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cover C">
    <p:bg>
      <p:bgPr>
        <a:solidFill>
          <a:srgbClr val="FAC8BF"/>
        </a:solidFill>
        <a:effectLst/>
      </p:bgPr>
    </p:bg>
    <p:spTree>
      <p:nvGrpSpPr>
        <p:cNvPr id="1" name=""/>
        <p:cNvGrpSpPr/>
        <p:nvPr/>
      </p:nvGrpSpPr>
      <p:grpSpPr>
        <a:xfrm>
          <a:off x="0" y="0"/>
          <a:ext cx="0" cy="0"/>
          <a:chOff x="0" y="0"/>
          <a:chExt cx="0" cy="0"/>
        </a:xfrm>
      </p:grpSpPr>
      <p:pic>
        <p:nvPicPr>
          <p:cNvPr id="14" name="Picture 1" descr="Picture 1">
            <a:extLst>
              <a:ext uri="{FF2B5EF4-FFF2-40B4-BE49-F238E27FC236}">
                <a16:creationId xmlns:a16="http://schemas.microsoft.com/office/drawing/2014/main" id="{F0BD883B-3439-4295-8213-9F8B9042D8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76003" y="2865402"/>
            <a:ext cx="1454519" cy="1938505"/>
          </a:xfrm>
          <a:prstGeom prst="rect">
            <a:avLst/>
          </a:prstGeom>
          <a:ln w="12700">
            <a:miter lim="400000"/>
          </a:ln>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tx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112474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B39788B-0B1B-4E6E-A269-5D537DCAA8B7}"/>
              </a:ext>
            </a:extLst>
          </p:cNvPr>
          <p:cNvGraphicFramePr>
            <a:graphicFrameLocks noChangeAspect="1"/>
          </p:cNvGraphicFramePr>
          <p:nvPr userDrawn="1">
            <p:custDataLst>
              <p:tags r:id="rId2"/>
            </p:custDataLst>
            <p:extLst>
              <p:ext uri="{D42A27DB-BD31-4B8C-83A1-F6EECF244321}">
                <p14:modId xmlns:p14="http://schemas.microsoft.com/office/powerpoint/2010/main" val="400850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6B39788B-0B1B-4E6E-A269-5D537DCAA8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35089-F984-455C-8EC7-8C2FB525002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pic>
        <p:nvPicPr>
          <p:cNvPr id="12" name="Picture 11">
            <a:extLst>
              <a:ext uri="{FF2B5EF4-FFF2-40B4-BE49-F238E27FC236}">
                <a16:creationId xmlns:a16="http://schemas.microsoft.com/office/drawing/2014/main" id="{27F8A90D-461F-4AD7-89B6-03D474E3133E}"/>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1" name="Straight Connector 10">
            <a:extLst>
              <a:ext uri="{FF2B5EF4-FFF2-40B4-BE49-F238E27FC236}">
                <a16:creationId xmlns:a16="http://schemas.microsoft.com/office/drawing/2014/main" id="{26CE136E-28C9-4658-87D6-8DC75128657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9D3A32EE-31CC-402C-BC8F-0A45C5C35022}"/>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50802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D186E4-CCFD-41FC-B2EE-05D516B2FFBB}"/>
              </a:ext>
            </a:extLst>
          </p:cNvPr>
          <p:cNvGraphicFramePr>
            <a:graphicFrameLocks noChangeAspect="1"/>
          </p:cNvGraphicFramePr>
          <p:nvPr userDrawn="1">
            <p:custDataLst>
              <p:tags r:id="rId2"/>
            </p:custDataLst>
            <p:extLst>
              <p:ext uri="{D42A27DB-BD31-4B8C-83A1-F6EECF244321}">
                <p14:modId xmlns:p14="http://schemas.microsoft.com/office/powerpoint/2010/main" val="257958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52D186E4-CCFD-41FC-B2EE-05D516B2FF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D6D7C7-4C7F-4436-81C4-A8013D3C49C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pic>
        <p:nvPicPr>
          <p:cNvPr id="15" name="Picture 14">
            <a:extLst>
              <a:ext uri="{FF2B5EF4-FFF2-40B4-BE49-F238E27FC236}">
                <a16:creationId xmlns:a16="http://schemas.microsoft.com/office/drawing/2014/main" id="{E4DEAE15-3C1A-4492-9489-C1BDD96F9D7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6" name="Rectangle 15">
            <a:extLst>
              <a:ext uri="{FF2B5EF4-FFF2-40B4-BE49-F238E27FC236}">
                <a16:creationId xmlns:a16="http://schemas.microsoft.com/office/drawing/2014/main" id="{837F9629-796A-4B11-80F1-082E52FE0A2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7" name="Line">
            <a:extLst>
              <a:ext uri="{FF2B5EF4-FFF2-40B4-BE49-F238E27FC236}">
                <a16:creationId xmlns:a16="http://schemas.microsoft.com/office/drawing/2014/main" id="{C6BB5B10-7AC6-4D4C-9398-EBC3DAD9ADC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A9034E5B-6976-4800-BAF5-ADD2CC88B26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19" name="Straight Connector 18">
            <a:extLst>
              <a:ext uri="{FF2B5EF4-FFF2-40B4-BE49-F238E27FC236}">
                <a16:creationId xmlns:a16="http://schemas.microsoft.com/office/drawing/2014/main" id="{E9757BDE-0409-49EB-9405-B6E8618BA84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B7F55FEB-5344-4114-9B20-AD834CC4D513}"/>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50250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673E619-3BCC-4E72-9E39-ED21D941EDCA}"/>
              </a:ext>
            </a:extLst>
          </p:cNvPr>
          <p:cNvGraphicFramePr>
            <a:graphicFrameLocks noChangeAspect="1"/>
          </p:cNvGraphicFramePr>
          <p:nvPr userDrawn="1">
            <p:custDataLst>
              <p:tags r:id="rId2"/>
            </p:custDataLst>
            <p:extLst>
              <p:ext uri="{D42A27DB-BD31-4B8C-83A1-F6EECF244321}">
                <p14:modId xmlns:p14="http://schemas.microsoft.com/office/powerpoint/2010/main" val="936582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B673E619-3BCC-4E72-9E39-ED21D941ED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8949D5-1BB3-4C23-9480-7E17D170AB7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pic>
        <p:nvPicPr>
          <p:cNvPr id="11" name="Picture 10">
            <a:extLst>
              <a:ext uri="{FF2B5EF4-FFF2-40B4-BE49-F238E27FC236}">
                <a16:creationId xmlns:a16="http://schemas.microsoft.com/office/drawing/2014/main" id="{138ABF3E-1B07-45DE-A9CC-499D6A046A12}"/>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5" name="Rectangle 14">
            <a:extLst>
              <a:ext uri="{FF2B5EF4-FFF2-40B4-BE49-F238E27FC236}">
                <a16:creationId xmlns:a16="http://schemas.microsoft.com/office/drawing/2014/main" id="{943A54F8-84C7-4546-906B-4DE5CFEDDA48}"/>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6" name="Line">
            <a:extLst>
              <a:ext uri="{FF2B5EF4-FFF2-40B4-BE49-F238E27FC236}">
                <a16:creationId xmlns:a16="http://schemas.microsoft.com/office/drawing/2014/main" id="{F229DDF5-D6D0-4B5E-B26F-E2762A20123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206133B1-C7AD-4731-9021-E32C77ADB9B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19" name="Straight Connector 18">
            <a:extLst>
              <a:ext uri="{FF2B5EF4-FFF2-40B4-BE49-F238E27FC236}">
                <a16:creationId xmlns:a16="http://schemas.microsoft.com/office/drawing/2014/main" id="{12834A68-4A9F-4E92-B7D6-72380D84B7EA}"/>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2663C781-7414-48B0-A672-8456FEAD2FA8}"/>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27001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8645C3-5443-4118-A87D-0F14008F034F}"/>
              </a:ext>
            </a:extLst>
          </p:cNvPr>
          <p:cNvGraphicFramePr>
            <a:graphicFrameLocks noChangeAspect="1"/>
          </p:cNvGraphicFramePr>
          <p:nvPr userDrawn="1">
            <p:custDataLst>
              <p:tags r:id="rId2"/>
            </p:custDataLst>
            <p:extLst>
              <p:ext uri="{D42A27DB-BD31-4B8C-83A1-F6EECF244321}">
                <p14:modId xmlns:p14="http://schemas.microsoft.com/office/powerpoint/2010/main" val="379365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4E8645C3-5443-4118-A87D-0F14008F03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FA6619-6A8E-4654-9BC3-BE32FEE5B21F}"/>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pic>
        <p:nvPicPr>
          <p:cNvPr id="15" name="Picture 14">
            <a:extLst>
              <a:ext uri="{FF2B5EF4-FFF2-40B4-BE49-F238E27FC236}">
                <a16:creationId xmlns:a16="http://schemas.microsoft.com/office/drawing/2014/main" id="{1AFB359E-E884-41AC-9961-DFF9805924F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6" name="Rectangle 15">
            <a:extLst>
              <a:ext uri="{FF2B5EF4-FFF2-40B4-BE49-F238E27FC236}">
                <a16:creationId xmlns:a16="http://schemas.microsoft.com/office/drawing/2014/main" id="{1709BBD1-0A16-4792-8B2F-D1E026587FB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8" name="Line">
            <a:extLst>
              <a:ext uri="{FF2B5EF4-FFF2-40B4-BE49-F238E27FC236}">
                <a16:creationId xmlns:a16="http://schemas.microsoft.com/office/drawing/2014/main" id="{CBEB9182-C912-4E66-8D69-1C06EE579010}"/>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9" name="Freeform 5">
            <a:extLst>
              <a:ext uri="{FF2B5EF4-FFF2-40B4-BE49-F238E27FC236}">
                <a16:creationId xmlns:a16="http://schemas.microsoft.com/office/drawing/2014/main" id="{54158E97-3B44-4368-9145-524FFB43FA9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0" name="Straight Connector 19">
            <a:extLst>
              <a:ext uri="{FF2B5EF4-FFF2-40B4-BE49-F238E27FC236}">
                <a16:creationId xmlns:a16="http://schemas.microsoft.com/office/drawing/2014/main" id="{1FCFF005-60D7-47BB-BFF3-D2027EED6AA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3D329BC1-E9D3-431F-BCF1-804D4D91D4F3}"/>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22863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54122-DDD8-4E3E-B34E-17D0684FB819}"/>
              </a:ext>
            </a:extLst>
          </p:cNvPr>
          <p:cNvGraphicFramePr>
            <a:graphicFrameLocks noChangeAspect="1"/>
          </p:cNvGraphicFramePr>
          <p:nvPr userDrawn="1">
            <p:custDataLst>
              <p:tags r:id="rId2"/>
            </p:custDataLst>
            <p:extLst>
              <p:ext uri="{D42A27DB-BD31-4B8C-83A1-F6EECF244321}">
                <p14:modId xmlns:p14="http://schemas.microsoft.com/office/powerpoint/2010/main" val="126128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F454122-DDD8-4E3E-B34E-17D0684FB8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8E7266-DF32-4B41-9FE1-54EBC98DF4E9}"/>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1"/>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a:extLst>
              <a:ext uri="{FF2B5EF4-FFF2-40B4-BE49-F238E27FC236}">
                <a16:creationId xmlns:a16="http://schemas.microsoft.com/office/drawing/2014/main" id="{5386C67B-5920-44CA-9FE3-4458EC00D99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8" name="Rectangle 17">
            <a:extLst>
              <a:ext uri="{FF2B5EF4-FFF2-40B4-BE49-F238E27FC236}">
                <a16:creationId xmlns:a16="http://schemas.microsoft.com/office/drawing/2014/main" id="{2220BC83-3116-4DFA-B680-2A7FEEABF469}"/>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9" name="Line">
            <a:extLst>
              <a:ext uri="{FF2B5EF4-FFF2-40B4-BE49-F238E27FC236}">
                <a16:creationId xmlns:a16="http://schemas.microsoft.com/office/drawing/2014/main" id="{326D397C-BDF4-4CB6-AB8B-7880F5BBB1A7}"/>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53D0E599-F437-47E1-A62B-C4732CBEF579}"/>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1" name="Straight Connector 20">
            <a:extLst>
              <a:ext uri="{FF2B5EF4-FFF2-40B4-BE49-F238E27FC236}">
                <a16:creationId xmlns:a16="http://schemas.microsoft.com/office/drawing/2014/main" id="{6C21A70B-07B6-4014-92CC-6C8D125737A4}"/>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18E529FB-69D6-4311-B5D5-B834B61C18F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849665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AA7CDB-BB58-4131-BE0E-74E1607C426E}"/>
              </a:ext>
            </a:extLst>
          </p:cNvPr>
          <p:cNvGraphicFramePr>
            <a:graphicFrameLocks noChangeAspect="1"/>
          </p:cNvGraphicFramePr>
          <p:nvPr userDrawn="1">
            <p:custDataLst>
              <p:tags r:id="rId2"/>
            </p:custDataLst>
            <p:extLst>
              <p:ext uri="{D42A27DB-BD31-4B8C-83A1-F6EECF244321}">
                <p14:modId xmlns:p14="http://schemas.microsoft.com/office/powerpoint/2010/main" val="1228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C6AA7CDB-BB58-4131-BE0E-74E1607C42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A11DFE-ED3F-4C6F-A88B-C764BB03FAB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1"/>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a:extLst>
              <a:ext uri="{FF2B5EF4-FFF2-40B4-BE49-F238E27FC236}">
                <a16:creationId xmlns:a16="http://schemas.microsoft.com/office/drawing/2014/main" id="{D4035954-C4AB-4A21-BCB8-243AA588B5E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8" name="Rectangle 17">
            <a:extLst>
              <a:ext uri="{FF2B5EF4-FFF2-40B4-BE49-F238E27FC236}">
                <a16:creationId xmlns:a16="http://schemas.microsoft.com/office/drawing/2014/main" id="{DCE30EFC-F206-493F-ABCB-68F0A8413736}"/>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9" name="Line">
            <a:extLst>
              <a:ext uri="{FF2B5EF4-FFF2-40B4-BE49-F238E27FC236}">
                <a16:creationId xmlns:a16="http://schemas.microsoft.com/office/drawing/2014/main" id="{0F566B92-C3FD-44AD-90A4-11104C95C8A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5524326A-FFF7-494F-B7ED-890E250F243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1" name="Straight Connector 20">
            <a:extLst>
              <a:ext uri="{FF2B5EF4-FFF2-40B4-BE49-F238E27FC236}">
                <a16:creationId xmlns:a16="http://schemas.microsoft.com/office/drawing/2014/main" id="{836435BD-C742-4FD4-91D8-1EBE1DACF7E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07DF94D0-DA1E-4F77-9523-338A57152312}"/>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880263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55A6BCB-A422-4507-AB9A-2B63293BCBE4}"/>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8FC76F6F-980C-4175-84DC-A535E711E0E5}"/>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0" name="Rectangle 19">
            <a:extLst>
              <a:ext uri="{FF2B5EF4-FFF2-40B4-BE49-F238E27FC236}">
                <a16:creationId xmlns:a16="http://schemas.microsoft.com/office/drawing/2014/main" id="{8DFE211F-6C54-4D68-AA75-09D0E2D830C0}"/>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a:t>
            </a:r>
            <a:r>
              <a:rPr lang="en-US" sz="600" dirty="0">
                <a:solidFill>
                  <a:schemeClr val="bg1"/>
                </a:solidFill>
                <a:latin typeface="+mn-lt"/>
              </a:rPr>
              <a:t>2020</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dirty="0"/>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lvl1pPr>
              <a:defRPr>
                <a:solidFill>
                  <a:schemeClr val="bg1"/>
                </a:solidFill>
              </a:defRPr>
            </a:lvl1pPr>
          </a:lstStyle>
          <a:p>
            <a:r>
              <a:rPr lang="en-US" dirty="0"/>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188924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505B8B-ACE2-401B-A216-218AEC32472C}"/>
              </a:ext>
            </a:extLst>
          </p:cNvPr>
          <p:cNvGraphicFramePr>
            <a:graphicFrameLocks noChangeAspect="1"/>
          </p:cNvGraphicFramePr>
          <p:nvPr userDrawn="1">
            <p:custDataLst>
              <p:tags r:id="rId2"/>
            </p:custDataLst>
            <p:extLst>
              <p:ext uri="{D42A27DB-BD31-4B8C-83A1-F6EECF244321}">
                <p14:modId xmlns:p14="http://schemas.microsoft.com/office/powerpoint/2010/main" val="86550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4C505B8B-ACE2-401B-A216-218AEC3247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393BA5-4657-486A-88BF-DF33268C5B0A}"/>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0"/>
            <a:ext cx="0" cy="3989371"/>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0"/>
            <a:ext cx="0" cy="3989371"/>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a:extLst>
              <a:ext uri="{FF2B5EF4-FFF2-40B4-BE49-F238E27FC236}">
                <a16:creationId xmlns:a16="http://schemas.microsoft.com/office/drawing/2014/main" id="{CFA7EC80-0A2E-475A-81B1-4EFED45375C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20" name="Rectangle 19">
            <a:extLst>
              <a:ext uri="{FF2B5EF4-FFF2-40B4-BE49-F238E27FC236}">
                <a16:creationId xmlns:a16="http://schemas.microsoft.com/office/drawing/2014/main" id="{AF98310C-0122-4B89-A3F6-F66560F776AE}"/>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21" name="Line">
            <a:extLst>
              <a:ext uri="{FF2B5EF4-FFF2-40B4-BE49-F238E27FC236}">
                <a16:creationId xmlns:a16="http://schemas.microsoft.com/office/drawing/2014/main" id="{3B66D087-D470-4A78-BB21-A9F732420A69}"/>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8B0636D6-4948-436F-8B5B-299DCBC6308D}"/>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3" name="Straight Connector 22">
            <a:extLst>
              <a:ext uri="{FF2B5EF4-FFF2-40B4-BE49-F238E27FC236}">
                <a16:creationId xmlns:a16="http://schemas.microsoft.com/office/drawing/2014/main" id="{DF00F735-70AA-4850-B005-0175B1A02DEE}"/>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69C02724-1C9B-4847-AE33-192DC370614F}"/>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424819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D0C04C-AA52-40F0-950E-22996436D524}"/>
              </a:ext>
            </a:extLst>
          </p:cNvPr>
          <p:cNvGraphicFramePr>
            <a:graphicFrameLocks noChangeAspect="1"/>
          </p:cNvGraphicFramePr>
          <p:nvPr userDrawn="1">
            <p:custDataLst>
              <p:tags r:id="rId2"/>
            </p:custDataLst>
            <p:extLst>
              <p:ext uri="{D42A27DB-BD31-4B8C-83A1-F6EECF244321}">
                <p14:modId xmlns:p14="http://schemas.microsoft.com/office/powerpoint/2010/main" val="2864123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0D0C04C-AA52-40F0-950E-22996436D5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90455B-2871-48D2-81B3-55714A75D77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154130"/>
            <a:ext cx="0" cy="3989371"/>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154130"/>
            <a:ext cx="0" cy="3989371"/>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a:extLst>
              <a:ext uri="{FF2B5EF4-FFF2-40B4-BE49-F238E27FC236}">
                <a16:creationId xmlns:a16="http://schemas.microsoft.com/office/drawing/2014/main" id="{B69B8758-EB74-45E3-8BAC-6B2B7054542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20" name="Rectangle 19">
            <a:extLst>
              <a:ext uri="{FF2B5EF4-FFF2-40B4-BE49-F238E27FC236}">
                <a16:creationId xmlns:a16="http://schemas.microsoft.com/office/drawing/2014/main" id="{25E423F8-7205-48EE-AE2D-EF546A9FECE3}"/>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21" name="Line">
            <a:extLst>
              <a:ext uri="{FF2B5EF4-FFF2-40B4-BE49-F238E27FC236}">
                <a16:creationId xmlns:a16="http://schemas.microsoft.com/office/drawing/2014/main" id="{2EF46491-014E-4DE7-9283-577ED582B69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E855DEE5-3229-40D8-91FC-DE31F883876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cxnSp>
        <p:nvCxnSpPr>
          <p:cNvPr id="23" name="Straight Connector 22">
            <a:extLst>
              <a:ext uri="{FF2B5EF4-FFF2-40B4-BE49-F238E27FC236}">
                <a16:creationId xmlns:a16="http://schemas.microsoft.com/office/drawing/2014/main" id="{1F7DAD72-A300-4831-862F-CFA3C545F19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0">
            <a:extLst>
              <a:ext uri="{FF2B5EF4-FFF2-40B4-BE49-F238E27FC236}">
                <a16:creationId xmlns:a16="http://schemas.microsoft.com/office/drawing/2014/main" id="{3D8CC259-FD4E-4903-90CF-C920D151A046}"/>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31970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dirty="0"/>
              <a:t>Footer in sentence case</a:t>
            </a:r>
          </a:p>
        </p:txBody>
      </p:sp>
      <p:pic>
        <p:nvPicPr>
          <p:cNvPr id="12" name="Picture 11">
            <a:extLst>
              <a:ext uri="{FF2B5EF4-FFF2-40B4-BE49-F238E27FC236}">
                <a16:creationId xmlns:a16="http://schemas.microsoft.com/office/drawing/2014/main" id="{6E7A3487-56BA-41F0-8C04-46C574112F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3" name="Picture Placeholder 10">
            <a:extLst>
              <a:ext uri="{FF2B5EF4-FFF2-40B4-BE49-F238E27FC236}">
                <a16:creationId xmlns:a16="http://schemas.microsoft.com/office/drawing/2014/main" id="{B2C67F1F-4AF7-4B88-B211-DF29FDD45CDE}"/>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dirty="0"/>
          </a:p>
        </p:txBody>
      </p:sp>
      <p:pic>
        <p:nvPicPr>
          <p:cNvPr id="16" name="Picture 15">
            <a:extLst>
              <a:ext uri="{FF2B5EF4-FFF2-40B4-BE49-F238E27FC236}">
                <a16:creationId xmlns:a16="http://schemas.microsoft.com/office/drawing/2014/main" id="{9E5B7052-5F16-4274-89AE-7FEC53207B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7" name="Rectangle 16">
            <a:extLst>
              <a:ext uri="{FF2B5EF4-FFF2-40B4-BE49-F238E27FC236}">
                <a16:creationId xmlns:a16="http://schemas.microsoft.com/office/drawing/2014/main" id="{E56DC21F-0E64-4A50-BC35-5FB45467ED08}"/>
              </a:ext>
            </a:extLst>
          </p:cNvPr>
          <p:cNvSpPr/>
          <p:nvPr userDrawn="1"/>
        </p:nvSpPr>
        <p:spPr>
          <a:xfrm>
            <a:off x="8161101" y="1154131"/>
            <a:ext cx="982899" cy="3989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8" name="Line">
            <a:extLst>
              <a:ext uri="{FF2B5EF4-FFF2-40B4-BE49-F238E27FC236}">
                <a16:creationId xmlns:a16="http://schemas.microsoft.com/office/drawing/2014/main" id="{22CD7F7A-4DFC-425A-BBE5-004797A526F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8D387666-ABC6-461A-9113-F859248E50A1}"/>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96234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3A62F5-C13E-4B13-B99D-A71E9075BC6E}"/>
              </a:ext>
            </a:extLst>
          </p:cNvPr>
          <p:cNvGraphicFramePr>
            <a:graphicFrameLocks noChangeAspect="1"/>
          </p:cNvGraphicFramePr>
          <p:nvPr userDrawn="1">
            <p:custDataLst>
              <p:tags r:id="rId2"/>
            </p:custDataLst>
            <p:extLst>
              <p:ext uri="{D42A27DB-BD31-4B8C-83A1-F6EECF244321}">
                <p14:modId xmlns:p14="http://schemas.microsoft.com/office/powerpoint/2010/main" val="226576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33A62F5-C13E-4B13-B99D-A71E9075BC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2A2618-14D0-4896-BB8A-FD8BE9C052B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7" name="Straight Connector 6">
            <a:extLst>
              <a:ext uri="{FF2B5EF4-FFF2-40B4-BE49-F238E27FC236}">
                <a16:creationId xmlns:a16="http://schemas.microsoft.com/office/drawing/2014/main" id="{1406D0EE-44D8-4A16-91CE-EA0A32186EA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66D3D96-4D27-46B9-9A5B-0DECBC5E63A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1" name="Title 1">
            <a:extLst>
              <a:ext uri="{FF2B5EF4-FFF2-40B4-BE49-F238E27FC236}">
                <a16:creationId xmlns:a16="http://schemas.microsoft.com/office/drawing/2014/main" id="{79DB23D1-A70D-4E09-8E01-B572A0F79903}"/>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17086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3B4949-E5CE-4123-B3AA-EBFB29A98E00}"/>
              </a:ext>
            </a:extLst>
          </p:cNvPr>
          <p:cNvGraphicFramePr>
            <a:graphicFrameLocks noChangeAspect="1"/>
          </p:cNvGraphicFramePr>
          <p:nvPr userDrawn="1">
            <p:custDataLst>
              <p:tags r:id="rId2"/>
            </p:custDataLst>
            <p:extLst>
              <p:ext uri="{D42A27DB-BD31-4B8C-83A1-F6EECF244321}">
                <p14:modId xmlns:p14="http://schemas.microsoft.com/office/powerpoint/2010/main" val="315206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FD3B4949-E5CE-4123-B3AA-EBFB29A98E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EC2FFA-239E-40DB-945F-959553DE76B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0" name="Straight Connector 9">
            <a:extLst>
              <a:ext uri="{FF2B5EF4-FFF2-40B4-BE49-F238E27FC236}">
                <a16:creationId xmlns:a16="http://schemas.microsoft.com/office/drawing/2014/main" id="{50E29C9E-5FE9-4CEB-92C0-C912B904C8E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8044B71-1324-47A7-A307-B75F43EB8A0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882" t="40522" r="20935" b="-1816"/>
          <a:stretch/>
        </p:blipFill>
        <p:spPr>
          <a:xfrm>
            <a:off x="8161101" y="3"/>
            <a:ext cx="982899" cy="1066747"/>
          </a:xfrm>
          <a:prstGeom prst="rect">
            <a:avLst/>
          </a:prstGeom>
        </p:spPr>
      </p:pic>
      <p:sp>
        <p:nvSpPr>
          <p:cNvPr id="14" name="Text Placeholder 10">
            <a:extLst>
              <a:ext uri="{FF2B5EF4-FFF2-40B4-BE49-F238E27FC236}">
                <a16:creationId xmlns:a16="http://schemas.microsoft.com/office/drawing/2014/main" id="{CD97A7B5-5495-46D8-BDCD-0CBF2A2E4F02}"/>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107153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19F5EA55-9330-4BA0-A923-00DB7201C5C5}"/>
              </a:ext>
            </a:extLst>
          </p:cNvPr>
          <p:cNvGraphicFramePr>
            <a:graphicFrameLocks noChangeAspect="1"/>
          </p:cNvGraphicFramePr>
          <p:nvPr userDrawn="1">
            <p:custDataLst>
              <p:tags r:id="rId2"/>
            </p:custDataLst>
            <p:extLst>
              <p:ext uri="{D42A27DB-BD31-4B8C-83A1-F6EECF244321}">
                <p14:modId xmlns:p14="http://schemas.microsoft.com/office/powerpoint/2010/main" val="283452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4" imgW="383" imgH="384" progId="TCLayout.ActiveDocument.1">
                  <p:embed/>
                </p:oleObj>
              </mc:Choice>
              <mc:Fallback>
                <p:oleObj name="think-cell Slide" r:id="rId4" imgW="383" imgH="384" progId="TCLayout.ActiveDocument.1">
                  <p:embed/>
                  <p:pic>
                    <p:nvPicPr>
                      <p:cNvPr id="44" name="Object 43" hidden="1">
                        <a:extLst>
                          <a:ext uri="{FF2B5EF4-FFF2-40B4-BE49-F238E27FC236}">
                            <a16:creationId xmlns:a16="http://schemas.microsoft.com/office/drawing/2014/main" id="{19F5EA55-9330-4BA0-A923-00DB7201C5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F92C563-ED97-46A2-B830-B18D61C8C793}"/>
              </a:ext>
            </a:extLst>
          </p:cNvPr>
          <p:cNvSpPr/>
          <p:nvPr userDrawn="1"/>
        </p:nvSpPr>
        <p:spPr>
          <a:xfrm>
            <a:off x="7405181" y="3500505"/>
            <a:ext cx="1738820" cy="165014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pic>
        <p:nvPicPr>
          <p:cNvPr id="2" name="Graphic 1">
            <a:extLst>
              <a:ext uri="{FF2B5EF4-FFF2-40B4-BE49-F238E27FC236}">
                <a16:creationId xmlns:a16="http://schemas.microsoft.com/office/drawing/2014/main" id="{DC31F63B-DAB4-466D-80BC-025D86724AD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945908" y="4325114"/>
            <a:ext cx="868681" cy="618908"/>
          </a:xfrm>
          <a:prstGeom prst="rect">
            <a:avLst/>
          </a:prstGeom>
        </p:spPr>
      </p:pic>
      <p:sp>
        <p:nvSpPr>
          <p:cNvPr id="26" name="Freeform: Shape 25">
            <a:extLst>
              <a:ext uri="{FF2B5EF4-FFF2-40B4-BE49-F238E27FC236}">
                <a16:creationId xmlns:a16="http://schemas.microsoft.com/office/drawing/2014/main" id="{12BFB32E-0672-4A3F-991A-E99D4EC2F5C0}"/>
              </a:ext>
            </a:extLst>
          </p:cNvPr>
          <p:cNvSpPr/>
          <p:nvPr userDrawn="1"/>
        </p:nvSpPr>
        <p:spPr>
          <a:xfrm>
            <a:off x="-1" y="821534"/>
            <a:ext cx="7408069" cy="4329113"/>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338" dirty="0"/>
          </a:p>
        </p:txBody>
      </p:sp>
      <p:pic>
        <p:nvPicPr>
          <p:cNvPr id="19" name="Picture 18">
            <a:extLst>
              <a:ext uri="{FF2B5EF4-FFF2-40B4-BE49-F238E27FC236}">
                <a16:creationId xmlns:a16="http://schemas.microsoft.com/office/drawing/2014/main" id="{DEA16AE1-4218-4A41-9AF8-2830E7459DA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268" t="28595" r="17217"/>
          <a:stretch/>
        </p:blipFill>
        <p:spPr>
          <a:xfrm>
            <a:off x="6097816" y="821532"/>
            <a:ext cx="3046184" cy="2218770"/>
          </a:xfrm>
          <a:prstGeom prst="rect">
            <a:avLst/>
          </a:prstGeom>
        </p:spPr>
      </p:pic>
      <p:cxnSp>
        <p:nvCxnSpPr>
          <p:cNvPr id="12" name="Straight Connector 11">
            <a:extLst>
              <a:ext uri="{FF2B5EF4-FFF2-40B4-BE49-F238E27FC236}">
                <a16:creationId xmlns:a16="http://schemas.microsoft.com/office/drawing/2014/main" id="{8D9992D2-8D38-4C02-9AC0-314875756EB6}"/>
              </a:ext>
            </a:extLst>
          </p:cNvPr>
          <p:cNvCxnSpPr>
            <a:cxnSpLocks/>
          </p:cNvCxnSpPr>
          <p:nvPr userDrawn="1"/>
        </p:nvCxnSpPr>
        <p:spPr>
          <a:xfrm flipV="1">
            <a:off x="5038920" y="-10883"/>
            <a:ext cx="0" cy="3511389"/>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1DCCCC-751C-4001-9138-B63D0A727059}"/>
              </a:ext>
            </a:extLst>
          </p:cNvPr>
          <p:cNvCxnSpPr>
            <a:cxnSpLocks/>
          </p:cNvCxnSpPr>
          <p:nvPr userDrawn="1"/>
        </p:nvCxnSpPr>
        <p:spPr>
          <a:xfrm>
            <a:off x="1" y="821531"/>
            <a:ext cx="915488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3840480" cy="1711238"/>
          </a:xfrm>
        </p:spPr>
        <p:txBody>
          <a:bodyPr/>
          <a:lstStyle>
            <a:lvl1pPr>
              <a:lnSpc>
                <a:spcPct val="90000"/>
              </a:lnSpc>
              <a:spcAft>
                <a:spcPts val="4800"/>
              </a:spcAft>
              <a:defRPr sz="4800">
                <a:solidFill>
                  <a:schemeClr val="accent1"/>
                </a:solidFill>
              </a:defRPr>
            </a:lvl1pPr>
            <a:lvl2pPr marL="0" indent="0">
              <a:lnSpc>
                <a:spcPct val="100000"/>
              </a:lnSpc>
              <a:buNone/>
              <a:defRPr sz="2800">
                <a:solidFill>
                  <a:schemeClr val="tx1"/>
                </a:solidFill>
              </a:defRPr>
            </a:lvl2pPr>
            <a:lvl3pPr>
              <a:defRPr b="0">
                <a:solidFill>
                  <a:schemeClr val="bg1"/>
                </a:solidFill>
              </a:defRPr>
            </a:lvl3pPr>
          </a:lstStyle>
          <a:p>
            <a:pPr lvl="0"/>
            <a:r>
              <a:rPr lang="en-US" dirty="0"/>
              <a:t>Headline</a:t>
            </a:r>
          </a:p>
          <a:p>
            <a:pPr lvl="1"/>
            <a:r>
              <a:rPr lang="en-US" dirty="0"/>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66675"/>
            <a:ext cx="3840480" cy="276999"/>
          </a:xfrm>
        </p:spPr>
        <p:txBody>
          <a:bodyPr anchor="b"/>
          <a:lstStyle>
            <a:lvl1pPr>
              <a:defRPr sz="1800">
                <a:solidFill>
                  <a:schemeClr val="tx1"/>
                </a:solidFill>
              </a:defRPr>
            </a:lvl1pPr>
            <a:lvl2pPr marL="0" indent="0">
              <a:buNone/>
              <a:defRPr sz="1600">
                <a:solidFill>
                  <a:schemeClr val="bg1"/>
                </a:solidFill>
              </a:defRPr>
            </a:lvl2pPr>
            <a:lvl3pPr>
              <a:defRPr sz="1600" b="0">
                <a:solidFill>
                  <a:schemeClr val="bg1"/>
                </a:solidFill>
              </a:defRPr>
            </a:lvl3pPr>
          </a:lstStyle>
          <a:p>
            <a:pPr lvl="0"/>
            <a:r>
              <a:rPr lang="en-US" dirty="0"/>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dirty="0"/>
          </a:p>
        </p:txBody>
      </p:sp>
      <p:sp>
        <p:nvSpPr>
          <p:cNvPr id="16" name="ADP MAS Executive Overview…">
            <a:extLst>
              <a:ext uri="{FF2B5EF4-FFF2-40B4-BE49-F238E27FC236}">
                <a16:creationId xmlns:a16="http://schemas.microsoft.com/office/drawing/2014/main" id="{85F13DE9-B77A-4540-9B87-B822365A6900}"/>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1</a:t>
            </a:r>
            <a:r>
              <a:rPr lang="en-US" sz="600" dirty="0">
                <a:solidFill>
                  <a:schemeClr val="tx1"/>
                </a:solidFill>
                <a:latin typeface="+mn-lt"/>
              </a:rPr>
              <a:t>9</a:t>
            </a:r>
            <a:r>
              <a:rPr sz="600" dirty="0">
                <a:solidFill>
                  <a:schemeClr val="tx1"/>
                </a:solidFill>
                <a:latin typeface="+mn-lt"/>
              </a:rPr>
              <a:t> ADP, LLC. Proprietary and Confidential.</a:t>
            </a:r>
          </a:p>
        </p:txBody>
      </p:sp>
      <p:cxnSp>
        <p:nvCxnSpPr>
          <p:cNvPr id="20" name="Straight Connector 19">
            <a:extLst>
              <a:ext uri="{FF2B5EF4-FFF2-40B4-BE49-F238E27FC236}">
                <a16:creationId xmlns:a16="http://schemas.microsoft.com/office/drawing/2014/main" id="{9B13B064-78EF-4181-8F03-763A6CA7804A}"/>
              </a:ext>
            </a:extLst>
          </p:cNvPr>
          <p:cNvCxnSpPr>
            <a:cxnSpLocks/>
          </p:cNvCxnSpPr>
          <p:nvPr userDrawn="1"/>
        </p:nvCxnSpPr>
        <p:spPr>
          <a:xfrm>
            <a:off x="5038922" y="3500504"/>
            <a:ext cx="4115967"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57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B">
    <p:bg>
      <p:bgPr>
        <a:solidFill>
          <a:schemeClr val="bg2"/>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7364782" y="3852902"/>
            <a:ext cx="1518217" cy="1290601"/>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384048" y="1133856"/>
            <a:ext cx="5029200" cy="1711238"/>
          </a:xfrm>
        </p:spPr>
        <p:txBody>
          <a:bodyPr/>
          <a:lstStyle>
            <a:lvl1pPr>
              <a:lnSpc>
                <a:spcPct val="90000"/>
              </a:lnSpc>
              <a:spcAft>
                <a:spcPts val="4800"/>
              </a:spcAft>
              <a:defRPr sz="4800">
                <a:solidFill>
                  <a:schemeClr val="accent1"/>
                </a:solidFill>
              </a:defRPr>
            </a:lvl1pPr>
            <a:lvl2pPr marL="0" indent="0">
              <a:lnSpc>
                <a:spcPct val="100000"/>
              </a:lnSpc>
              <a:buNone/>
              <a:defRPr sz="2800">
                <a:solidFill>
                  <a:schemeClr val="tx1"/>
                </a:solidFill>
              </a:defRPr>
            </a:lvl2pPr>
            <a:lvl3pPr>
              <a:defRPr b="0">
                <a:solidFill>
                  <a:schemeClr val="bg1"/>
                </a:solidFill>
              </a:defRPr>
            </a:lvl3pPr>
          </a:lstStyle>
          <a:p>
            <a:pPr lvl="0"/>
            <a:r>
              <a:rPr lang="en-US" dirty="0"/>
              <a:t>Headline</a:t>
            </a:r>
          </a:p>
          <a:p>
            <a:pPr lvl="1"/>
            <a:r>
              <a:rPr lang="en-US" dirty="0"/>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384048" y="4266675"/>
            <a:ext cx="5029200" cy="276999"/>
          </a:xfrm>
        </p:spPr>
        <p:txBody>
          <a:bodyPr anchor="b"/>
          <a:lstStyle>
            <a:lvl1pPr>
              <a:defRPr sz="1800">
                <a:solidFill>
                  <a:schemeClr val="tx1"/>
                </a:solidFill>
              </a:defRPr>
            </a:lvl1pPr>
            <a:lvl2pPr marL="0" indent="0">
              <a:buNone/>
              <a:defRPr sz="1600">
                <a:solidFill>
                  <a:schemeClr val="bg1"/>
                </a:solidFill>
              </a:defRPr>
            </a:lvl2pPr>
            <a:lvl3pPr>
              <a:defRPr sz="1600"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dirty="0"/>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7429502" y="1285876"/>
            <a:ext cx="1453497" cy="129060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38" dirty="0"/>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8882997"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5976003" y="2571750"/>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5976003" y="1285875"/>
            <a:ext cx="3167999"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7429500" y="-2"/>
            <a:ext cx="0" cy="257648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pic>
        <p:nvPicPr>
          <p:cNvPr id="15" name="Picture 14">
            <a:extLst>
              <a:ext uri="{FF2B5EF4-FFF2-40B4-BE49-F238E27FC236}">
                <a16:creationId xmlns:a16="http://schemas.microsoft.com/office/drawing/2014/main" id="{F9F9F0DE-0795-4EE8-9DDF-7F6434467064}"/>
              </a:ext>
            </a:extLst>
          </p:cNvPr>
          <p:cNvPicPr>
            <a:picLocks noChangeAspect="1"/>
          </p:cNvPicPr>
          <p:nvPr userDrawn="1"/>
        </p:nvPicPr>
        <p:blipFill rotWithShape="1">
          <a:blip r:embed="rId2"/>
          <a:srcRect l="22370" t="22568" r="283"/>
          <a:stretch/>
        </p:blipFill>
        <p:spPr>
          <a:xfrm>
            <a:off x="5975351" y="2576478"/>
            <a:ext cx="1887876" cy="2181334"/>
          </a:xfrm>
          <a:prstGeom prst="rect">
            <a:avLst/>
          </a:prstGeom>
        </p:spPr>
      </p:pic>
      <p:pic>
        <p:nvPicPr>
          <p:cNvPr id="16" name="Picture 15">
            <a:extLst>
              <a:ext uri="{FF2B5EF4-FFF2-40B4-BE49-F238E27FC236}">
                <a16:creationId xmlns:a16="http://schemas.microsoft.com/office/drawing/2014/main" id="{16D9496D-10C7-4837-B308-2360FF5F3D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53528" y="1572771"/>
            <a:ext cx="1005840" cy="716629"/>
          </a:xfrm>
          <a:prstGeom prst="rect">
            <a:avLst/>
          </a:prstGeom>
        </p:spPr>
      </p:pic>
    </p:spTree>
    <p:extLst>
      <p:ext uri="{BB962C8B-B14F-4D97-AF65-F5344CB8AC3E}">
        <p14:creationId xmlns:p14="http://schemas.microsoft.com/office/powerpoint/2010/main" val="185133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2" y="3720688"/>
            <a:ext cx="9144001"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1"/>
            <a:ext cx="0" cy="5135707"/>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64008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p>
            <a:r>
              <a:rPr lang="en-US" dirty="0"/>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pic>
        <p:nvPicPr>
          <p:cNvPr id="14" name="Picture 13">
            <a:extLst>
              <a:ext uri="{FF2B5EF4-FFF2-40B4-BE49-F238E27FC236}">
                <a16:creationId xmlns:a16="http://schemas.microsoft.com/office/drawing/2014/main" id="{0586F5A9-3669-4DD4-A735-918DF2A582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353" t="7015" r="5543"/>
          <a:stretch/>
        </p:blipFill>
        <p:spPr>
          <a:xfrm>
            <a:off x="7430521" y="2"/>
            <a:ext cx="1713481" cy="2865478"/>
          </a:xfrm>
          <a:prstGeom prst="rect">
            <a:avLst/>
          </a:prstGeom>
        </p:spPr>
      </p:pic>
    </p:spTree>
    <p:extLst>
      <p:ext uri="{BB962C8B-B14F-4D97-AF65-F5344CB8AC3E}">
        <p14:creationId xmlns:p14="http://schemas.microsoft.com/office/powerpoint/2010/main" val="142870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3D8BA9C-396A-47FF-AF0C-07DF783ED7D7}"/>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5" name="Rectangle 14">
            <a:extLst>
              <a:ext uri="{FF2B5EF4-FFF2-40B4-BE49-F238E27FC236}">
                <a16:creationId xmlns:a16="http://schemas.microsoft.com/office/drawing/2014/main" id="{89708E0D-458F-488C-AB53-F893D46C6B2F}"/>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5DB664BB-98F9-4C83-A71D-718169E07BA5}"/>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9139235" cy="2571751"/>
          </a:xfrm>
        </p:spPr>
        <p:txBody>
          <a:bodyPr anchor="ctr">
            <a:noAutofit/>
          </a:bodyPr>
          <a:lstStyle>
            <a:lvl1pPr algn="ctr">
              <a:defRPr/>
            </a:lvl1pPr>
          </a:lstStyle>
          <a:p>
            <a:endParaRPr lang="en-US" dirty="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7429500" y="2571753"/>
            <a:ext cx="0" cy="2563955"/>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2851731"/>
            <a:ext cx="6400800" cy="553998"/>
          </a:xfrm>
        </p:spPr>
        <p:txBody>
          <a:bodyPr anchor="t">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4761" y="2571750"/>
            <a:ext cx="9144001" cy="0"/>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p>
            <a:r>
              <a:rPr lang="en-US" dirty="0"/>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98123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478F62-165D-4EFC-9AFA-4C5156C70E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561" t="-983" r="104" b="-1"/>
          <a:stretch/>
        </p:blipFill>
        <p:spPr>
          <a:xfrm>
            <a:off x="5976005" y="2838450"/>
            <a:ext cx="1454516" cy="1964658"/>
          </a:xfrm>
          <a:prstGeom prst="rect">
            <a:avLst/>
          </a:prstGeom>
        </p:spPr>
      </p:pic>
      <p:sp>
        <p:nvSpPr>
          <p:cNvPr id="8" name="Rectangle 7">
            <a:extLst>
              <a:ext uri="{FF2B5EF4-FFF2-40B4-BE49-F238E27FC236}">
                <a16:creationId xmlns:a16="http://schemas.microsoft.com/office/drawing/2014/main" id="{E29F52CB-4F4E-4E47-9F43-3CE7BE628519}"/>
              </a:ext>
            </a:extLst>
          </p:cNvPr>
          <p:cNvSpPr/>
          <p:nvPr userDrawn="1"/>
        </p:nvSpPr>
        <p:spPr>
          <a:xfrm>
            <a:off x="218487" y="4757896"/>
            <a:ext cx="7352747" cy="385604"/>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9" name="Rectangle 8">
            <a:extLst>
              <a:ext uri="{FF2B5EF4-FFF2-40B4-BE49-F238E27FC236}">
                <a16:creationId xmlns:a16="http://schemas.microsoft.com/office/drawing/2014/main" id="{74996045-165B-4BA0-9D9A-EE86A8A1CCA7}"/>
              </a:ext>
            </a:extLst>
          </p:cNvPr>
          <p:cNvSpPr/>
          <p:nvPr userDrawn="1"/>
        </p:nvSpPr>
        <p:spPr>
          <a:xfrm>
            <a:off x="1" y="4757896"/>
            <a:ext cx="2435699" cy="385604"/>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0" name="Rectangle 9">
            <a:extLst>
              <a:ext uri="{FF2B5EF4-FFF2-40B4-BE49-F238E27FC236}">
                <a16:creationId xmlns:a16="http://schemas.microsoft.com/office/drawing/2014/main" id="{388FF408-CB71-459E-837C-9631B0F03675}"/>
              </a:ext>
            </a:extLst>
          </p:cNvPr>
          <p:cNvSpPr/>
          <p:nvPr userDrawn="1"/>
        </p:nvSpPr>
        <p:spPr>
          <a:xfrm>
            <a:off x="7430522" y="4757896"/>
            <a:ext cx="726049" cy="385604"/>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1" name="ADP MAS Executive Overview…">
            <a:extLst>
              <a:ext uri="{FF2B5EF4-FFF2-40B4-BE49-F238E27FC236}">
                <a16:creationId xmlns:a16="http://schemas.microsoft.com/office/drawing/2014/main" id="{2A84AB9A-EA72-4873-830D-D31347B3E8C9}"/>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201</a:t>
            </a:r>
            <a:r>
              <a:rPr lang="en-US" sz="600" dirty="0">
                <a:solidFill>
                  <a:schemeClr val="bg1"/>
                </a:solidFill>
                <a:latin typeface="+mn-lt"/>
              </a:rPr>
              <a:t>9</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1"/>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sp>
        <p:nvSpPr>
          <p:cNvPr id="2" name="Footer Placeholder 1">
            <a:extLst>
              <a:ext uri="{FF2B5EF4-FFF2-40B4-BE49-F238E27FC236}">
                <a16:creationId xmlns:a16="http://schemas.microsoft.com/office/drawing/2014/main" id="{D4A728F6-E451-41A5-9ECE-83D1CD45FE2A}"/>
              </a:ext>
            </a:extLst>
          </p:cNvPr>
          <p:cNvSpPr>
            <a:spLocks noGrp="1"/>
          </p:cNvSpPr>
          <p:nvPr>
            <p:ph type="ftr" sz="quarter" idx="15"/>
          </p:nvPr>
        </p:nvSpPr>
        <p:spPr/>
        <p:txBody>
          <a:bodyPr/>
          <a:lstStyle/>
          <a:p>
            <a:r>
              <a:rPr lang="en-US" dirty="0"/>
              <a:t>Footer in sentence case</a:t>
            </a:r>
          </a:p>
        </p:txBody>
      </p:sp>
      <p:sp>
        <p:nvSpPr>
          <p:cNvPr id="12" name="Line">
            <a:extLst>
              <a:ext uri="{FF2B5EF4-FFF2-40B4-BE49-F238E27FC236}">
                <a16:creationId xmlns:a16="http://schemas.microsoft.com/office/drawing/2014/main" id="{EA9FAD05-53BC-4B33-B071-14455C242E8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Tree>
    <p:extLst>
      <p:ext uri="{BB962C8B-B14F-4D97-AF65-F5344CB8AC3E}">
        <p14:creationId xmlns:p14="http://schemas.microsoft.com/office/powerpoint/2010/main" val="1746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810452A-ABD4-49A7-92DF-9FF1F0B85F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187" t="-176" r="322"/>
          <a:stretch/>
        </p:blipFill>
        <p:spPr>
          <a:xfrm>
            <a:off x="5976004" y="2868843"/>
            <a:ext cx="1454517" cy="1944130"/>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5976003" y="3"/>
            <a:ext cx="0" cy="51435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142C0E5-C013-4797-8D04-A08441270FC5}"/>
              </a:ext>
            </a:extLst>
          </p:cNvPr>
          <p:cNvSpPr/>
          <p:nvPr userDrawn="1"/>
        </p:nvSpPr>
        <p:spPr>
          <a:xfrm>
            <a:off x="218487" y="4757896"/>
            <a:ext cx="7352747" cy="385604"/>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0E751EC3-E3E0-487F-832F-3B0DA0DB976E}"/>
              </a:ext>
            </a:extLst>
          </p:cNvPr>
          <p:cNvSpPr/>
          <p:nvPr userDrawn="1"/>
        </p:nvSpPr>
        <p:spPr>
          <a:xfrm>
            <a:off x="1" y="4757896"/>
            <a:ext cx="2435699" cy="385604"/>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5FD10E51-5BC6-483C-94BB-A6FBF1FDD52B}"/>
              </a:ext>
            </a:extLst>
          </p:cNvPr>
          <p:cNvSpPr/>
          <p:nvPr userDrawn="1"/>
        </p:nvSpPr>
        <p:spPr>
          <a:xfrm>
            <a:off x="7430522" y="4757896"/>
            <a:ext cx="726049" cy="385604"/>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L="0" marR="0" indent="0" algn="l" defTabSz="12191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cs typeface="Taub Sans"/>
              <a:sym typeface="Taub Sans"/>
            </a:endParaRPr>
          </a:p>
        </p:txBody>
      </p:sp>
      <p:sp>
        <p:nvSpPr>
          <p:cNvPr id="36" name="Line">
            <a:extLst>
              <a:ext uri="{FF2B5EF4-FFF2-40B4-BE49-F238E27FC236}">
                <a16:creationId xmlns:a16="http://schemas.microsoft.com/office/drawing/2014/main" id="{44F68021-5486-4BA1-A821-950F77859A0D}"/>
              </a:ext>
            </a:extLst>
          </p:cNvPr>
          <p:cNvSpPr/>
          <p:nvPr userDrawn="1"/>
        </p:nvSpPr>
        <p:spPr>
          <a:xfrm>
            <a:off x="1" y="4757896"/>
            <a:ext cx="9144000" cy="0"/>
          </a:xfrm>
          <a:prstGeom prst="line">
            <a:avLst/>
          </a:prstGeom>
          <a:ln w="6350">
            <a:solidFill>
              <a:srgbClr val="D0271D">
                <a:alpha val="49804"/>
              </a:srgbClr>
            </a:solidFill>
          </a:ln>
        </p:spPr>
        <p:txBody>
          <a:bodyPr lIns="17145" rIns="17145"/>
          <a:lstStyle/>
          <a:p>
            <a:pPr>
              <a:defRPr sz="6000" spc="-180">
                <a:latin typeface="Taub Sans"/>
                <a:ea typeface="Taub Sans"/>
                <a:cs typeface="Taub Sans"/>
                <a:sym typeface="Taub Sans"/>
              </a:defRPr>
            </a:pPr>
            <a:endParaRPr sz="2250" dirty="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bg1"/>
                </a:solidFill>
                <a:latin typeface="+mn-lt"/>
              </a:rPr>
              <a:t>Copyright © </a:t>
            </a:r>
            <a:r>
              <a:rPr lang="en-US" sz="600" dirty="0">
                <a:solidFill>
                  <a:schemeClr val="bg1"/>
                </a:solidFill>
                <a:latin typeface="+mn-lt"/>
              </a:rPr>
              <a:t>2020</a:t>
            </a:r>
            <a:r>
              <a:rPr sz="600" dirty="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384047" y="1583342"/>
            <a:ext cx="5029200" cy="553998"/>
          </a:xfrm>
        </p:spPr>
        <p:txBody>
          <a:bodyPr anchor="ctr">
            <a:spAutoFit/>
          </a:bodyPr>
          <a:lstStyle>
            <a:lvl1pPr>
              <a:lnSpc>
                <a:spcPct val="100000"/>
              </a:lnSpc>
              <a:spcAft>
                <a:spcPts val="3600"/>
              </a:spcAft>
              <a:defRPr sz="3600">
                <a:solidFill>
                  <a:schemeClr val="accent5"/>
                </a:solidFill>
              </a:defRPr>
            </a:lvl1pPr>
            <a:lvl2pPr marL="0" indent="0">
              <a:lnSpc>
                <a:spcPct val="100000"/>
              </a:lnSpc>
              <a:buNone/>
              <a:defRPr sz="24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7430520" y="-12242"/>
            <a:ext cx="0" cy="5162887"/>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B8DD73D-4367-4428-B9B1-88CE4C0C334B}"/>
              </a:ext>
            </a:extLst>
          </p:cNvPr>
          <p:cNvSpPr>
            <a:spLocks noGrp="1"/>
          </p:cNvSpPr>
          <p:nvPr>
            <p:ph type="ftr" sz="quarter" idx="13"/>
          </p:nvPr>
        </p:nvSpPr>
        <p:spPr/>
        <p:txBody>
          <a:bodyPr/>
          <a:lstStyle>
            <a:lvl1pPr>
              <a:defRPr>
                <a:solidFill>
                  <a:schemeClr val="bg1"/>
                </a:solidFill>
              </a:defRPr>
            </a:lvl1pPr>
          </a:lstStyle>
          <a:p>
            <a:r>
              <a:rPr lang="en-US" dirty="0"/>
              <a:t>Footer in sentence case</a:t>
            </a:r>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9080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E2FAD6-3B2A-42E1-B27D-264915399D1D}"/>
              </a:ext>
            </a:extLst>
          </p:cNvPr>
          <p:cNvGraphicFramePr>
            <a:graphicFrameLocks noChangeAspect="1"/>
          </p:cNvGraphicFramePr>
          <p:nvPr userDrawn="1">
            <p:custDataLst>
              <p:tags r:id="rId2"/>
            </p:custDataLst>
            <p:extLst>
              <p:ext uri="{D42A27DB-BD31-4B8C-83A1-F6EECF244321}">
                <p14:modId xmlns:p14="http://schemas.microsoft.com/office/powerpoint/2010/main" val="88867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37E2FAD6-3B2A-42E1-B27D-264915399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47C4743-E12F-4BE7-A3CF-16BAE4F7EAD7}"/>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pic>
        <p:nvPicPr>
          <p:cNvPr id="15" name="Picture 14">
            <a:extLst>
              <a:ext uri="{FF2B5EF4-FFF2-40B4-BE49-F238E27FC236}">
                <a16:creationId xmlns:a16="http://schemas.microsoft.com/office/drawing/2014/main" id="{94E3893F-0A6D-4A12-86E1-004DEB2BED6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
        <p:nvSpPr>
          <p:cNvPr id="10" name="Title 1">
            <a:extLst>
              <a:ext uri="{FF2B5EF4-FFF2-40B4-BE49-F238E27FC236}">
                <a16:creationId xmlns:a16="http://schemas.microsoft.com/office/drawing/2014/main" id="{A23CB32D-6AD6-4D44-AD20-6148011F20F5}"/>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cxnSp>
        <p:nvCxnSpPr>
          <p:cNvPr id="12" name="Straight Connector 11">
            <a:extLst>
              <a:ext uri="{FF2B5EF4-FFF2-40B4-BE49-F238E27FC236}">
                <a16:creationId xmlns:a16="http://schemas.microsoft.com/office/drawing/2014/main" id="{0D1546AC-554D-4C7F-97CC-1D8E608F52D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76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35F34E-6DCC-47CA-BF92-8437AC60A622}"/>
              </a:ext>
            </a:extLst>
          </p:cNvPr>
          <p:cNvGraphicFramePr>
            <a:graphicFrameLocks noChangeAspect="1"/>
          </p:cNvGraphicFramePr>
          <p:nvPr userDrawn="1">
            <p:custDataLst>
              <p:tags r:id="rId2"/>
            </p:custDataLst>
            <p:extLst>
              <p:ext uri="{D42A27DB-BD31-4B8C-83A1-F6EECF244321}">
                <p14:modId xmlns:p14="http://schemas.microsoft.com/office/powerpoint/2010/main" val="4003127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0635F34E-6DCC-47CA-BF92-8437AC60A6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335CB5-1176-4CE6-9347-BEB885E4461B}"/>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Rectangle 11">
            <a:extLst>
              <a:ext uri="{FF2B5EF4-FFF2-40B4-BE49-F238E27FC236}">
                <a16:creationId xmlns:a16="http://schemas.microsoft.com/office/drawing/2014/main" id="{BB8C3081-E0C1-4B29-A530-BEA667E90980}"/>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6" name="Line">
            <a:extLst>
              <a:ext uri="{FF2B5EF4-FFF2-40B4-BE49-F238E27FC236}">
                <a16:creationId xmlns:a16="http://schemas.microsoft.com/office/drawing/2014/main" id="{CC980C89-3B0C-437C-B17C-45ACBF46F87E}"/>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7" name="Freeform 5">
            <a:extLst>
              <a:ext uri="{FF2B5EF4-FFF2-40B4-BE49-F238E27FC236}">
                <a16:creationId xmlns:a16="http://schemas.microsoft.com/office/drawing/2014/main" id="{28EDE532-57EA-4B46-BBE7-A84B5B37CA0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18" name="Picture 17">
            <a:extLst>
              <a:ext uri="{FF2B5EF4-FFF2-40B4-BE49-F238E27FC236}">
                <a16:creationId xmlns:a16="http://schemas.microsoft.com/office/drawing/2014/main" id="{6575B8E6-9F75-42B0-BD04-66DD587382A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19" name="Straight Connector 18">
            <a:extLst>
              <a:ext uri="{FF2B5EF4-FFF2-40B4-BE49-F238E27FC236}">
                <a16:creationId xmlns:a16="http://schemas.microsoft.com/office/drawing/2014/main" id="{832DC5C8-95CF-4CC4-831A-EFD72918DAA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BE4F21ED-56C0-4AB3-9820-B7F0ED0BA156}"/>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325775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FD509-2012-4A4B-B2DD-7F9569D19C11}"/>
              </a:ext>
            </a:extLst>
          </p:cNvPr>
          <p:cNvGraphicFramePr>
            <a:graphicFrameLocks noChangeAspect="1"/>
          </p:cNvGraphicFramePr>
          <p:nvPr userDrawn="1">
            <p:custDataLst>
              <p:tags r:id="rId2"/>
            </p:custDataLst>
            <p:extLst>
              <p:ext uri="{D42A27DB-BD31-4B8C-83A1-F6EECF244321}">
                <p14:modId xmlns:p14="http://schemas.microsoft.com/office/powerpoint/2010/main" val="251807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D93FD509-2012-4A4B-B2DD-7F9569D19C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B07539-F1F6-453C-8818-6373D11F98C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1" name="Title 1">
            <a:extLst>
              <a:ext uri="{FF2B5EF4-FFF2-40B4-BE49-F238E27FC236}">
                <a16:creationId xmlns:a16="http://schemas.microsoft.com/office/drawing/2014/main" id="{FFEE1FCD-BFA4-432D-B7E2-0220DCEC5ADF}"/>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13" name="Rectangle 12">
            <a:extLst>
              <a:ext uri="{FF2B5EF4-FFF2-40B4-BE49-F238E27FC236}">
                <a16:creationId xmlns:a16="http://schemas.microsoft.com/office/drawing/2014/main" id="{E2DDFBE4-69D4-46D2-8F89-A1EB43B0F8F6}"/>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6" name="Line">
            <a:extLst>
              <a:ext uri="{FF2B5EF4-FFF2-40B4-BE49-F238E27FC236}">
                <a16:creationId xmlns:a16="http://schemas.microsoft.com/office/drawing/2014/main" id="{21C31070-8964-4038-8B98-6F2747561C73}"/>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4D9B208B-D0D3-42B5-89C8-AD693B4C1A5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19" name="Picture 18">
            <a:extLst>
              <a:ext uri="{FF2B5EF4-FFF2-40B4-BE49-F238E27FC236}">
                <a16:creationId xmlns:a16="http://schemas.microsoft.com/office/drawing/2014/main" id="{B2039915-B376-4DF9-87C0-DAD54636C416}"/>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0" name="Straight Connector 19">
            <a:extLst>
              <a:ext uri="{FF2B5EF4-FFF2-40B4-BE49-F238E27FC236}">
                <a16:creationId xmlns:a16="http://schemas.microsoft.com/office/drawing/2014/main" id="{0BE98BAB-32FC-42A8-9E59-85920962B38D}"/>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04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1436C4-163D-4D7C-AA1B-F3C5B9BC5589}"/>
              </a:ext>
            </a:extLst>
          </p:cNvPr>
          <p:cNvGraphicFramePr>
            <a:graphicFrameLocks noChangeAspect="1"/>
          </p:cNvGraphicFramePr>
          <p:nvPr userDrawn="1">
            <p:custDataLst>
              <p:tags r:id="rId2"/>
            </p:custDataLst>
            <p:extLst>
              <p:ext uri="{D42A27DB-BD31-4B8C-83A1-F6EECF244321}">
                <p14:modId xmlns:p14="http://schemas.microsoft.com/office/powerpoint/2010/main" val="5730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B91436C4-163D-4D7C-AA1B-F3C5B9BC55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835F3A-3DA7-45BD-A361-B7E68E8C3DB4}"/>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3" name="Rectangle 12">
            <a:extLst>
              <a:ext uri="{FF2B5EF4-FFF2-40B4-BE49-F238E27FC236}">
                <a16:creationId xmlns:a16="http://schemas.microsoft.com/office/drawing/2014/main" id="{4D981621-C2ED-4CF1-BED4-25A9940264CB}"/>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6" name="Line">
            <a:extLst>
              <a:ext uri="{FF2B5EF4-FFF2-40B4-BE49-F238E27FC236}">
                <a16:creationId xmlns:a16="http://schemas.microsoft.com/office/drawing/2014/main" id="{D6166814-18DC-47C0-9801-E49205BA66F4}"/>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D394F958-47BF-44ED-AFAF-B443CD569FD5}"/>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19" name="Picture 18">
            <a:extLst>
              <a:ext uri="{FF2B5EF4-FFF2-40B4-BE49-F238E27FC236}">
                <a16:creationId xmlns:a16="http://schemas.microsoft.com/office/drawing/2014/main" id="{FF2683E5-189A-4443-92A8-34F1FD777E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0" name="Straight Connector 19">
            <a:extLst>
              <a:ext uri="{FF2B5EF4-FFF2-40B4-BE49-F238E27FC236}">
                <a16:creationId xmlns:a16="http://schemas.microsoft.com/office/drawing/2014/main" id="{557413D2-CCF6-40E6-9EE2-5D3C281B0F0F}"/>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36CAA2D-431A-42E0-9440-F03DF1F8A5C2}"/>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16013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B0F2C5-EB7A-4773-AC2C-0CC5C75EBB09}"/>
              </a:ext>
            </a:extLst>
          </p:cNvPr>
          <p:cNvGraphicFramePr>
            <a:graphicFrameLocks noChangeAspect="1"/>
          </p:cNvGraphicFramePr>
          <p:nvPr userDrawn="1">
            <p:custDataLst>
              <p:tags r:id="rId2"/>
            </p:custDataLst>
            <p:extLst>
              <p:ext uri="{D42A27DB-BD31-4B8C-83A1-F6EECF244321}">
                <p14:modId xmlns:p14="http://schemas.microsoft.com/office/powerpoint/2010/main" val="213806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CBB0F2C5-EB7A-4773-AC2C-0CC5C75EBB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E10E96-F10D-4873-88A9-2B835D7C5C0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4A0F3CBD-C3C3-49F3-A605-743D99B03675}"/>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18" name="Rectangle 17">
            <a:extLst>
              <a:ext uri="{FF2B5EF4-FFF2-40B4-BE49-F238E27FC236}">
                <a16:creationId xmlns:a16="http://schemas.microsoft.com/office/drawing/2014/main" id="{47D39331-7098-4CB5-BC4A-68561D824B70}"/>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9" name="Line">
            <a:extLst>
              <a:ext uri="{FF2B5EF4-FFF2-40B4-BE49-F238E27FC236}">
                <a16:creationId xmlns:a16="http://schemas.microsoft.com/office/drawing/2014/main" id="{0365C950-7969-4D24-9BB6-3D51F9F2642D}"/>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0" name="Freeform 5">
            <a:extLst>
              <a:ext uri="{FF2B5EF4-FFF2-40B4-BE49-F238E27FC236}">
                <a16:creationId xmlns:a16="http://schemas.microsoft.com/office/drawing/2014/main" id="{AE29AC73-0312-4D7E-886D-708584FEDEC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1" name="Picture 20">
            <a:extLst>
              <a:ext uri="{FF2B5EF4-FFF2-40B4-BE49-F238E27FC236}">
                <a16:creationId xmlns:a16="http://schemas.microsoft.com/office/drawing/2014/main" id="{7D30C54B-5BDE-4BA2-8105-AEC25C918FF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2" name="Straight Connector 21">
            <a:extLst>
              <a:ext uri="{FF2B5EF4-FFF2-40B4-BE49-F238E27FC236}">
                <a16:creationId xmlns:a16="http://schemas.microsoft.com/office/drawing/2014/main" id="{723533BF-9CE4-4D5A-A9BC-2AB948984CB0}"/>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323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83A9FC-37C3-419E-87D6-8E3E62201C7B}"/>
              </a:ext>
            </a:extLst>
          </p:cNvPr>
          <p:cNvGraphicFramePr>
            <a:graphicFrameLocks noChangeAspect="1"/>
          </p:cNvGraphicFramePr>
          <p:nvPr userDrawn="1">
            <p:custDataLst>
              <p:tags r:id="rId2"/>
            </p:custDataLst>
            <p:extLst>
              <p:ext uri="{D42A27DB-BD31-4B8C-83A1-F6EECF244321}">
                <p14:modId xmlns:p14="http://schemas.microsoft.com/office/powerpoint/2010/main" val="1610881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5083A9FC-37C3-419E-87D6-8E3E62201C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3C01CF4-C696-4F16-ABF4-E2F37345BC2E}"/>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0"/>
            <a:ext cx="0" cy="398937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DE3DF3-FC9F-4E24-A7F2-4E8E5A0494C5}"/>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8" name="Line">
            <a:extLst>
              <a:ext uri="{FF2B5EF4-FFF2-40B4-BE49-F238E27FC236}">
                <a16:creationId xmlns:a16="http://schemas.microsoft.com/office/drawing/2014/main" id="{0F42BACD-2C9B-4DEE-81E1-7AEC1E0769E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9" name="Freeform 5">
            <a:extLst>
              <a:ext uri="{FF2B5EF4-FFF2-40B4-BE49-F238E27FC236}">
                <a16:creationId xmlns:a16="http://schemas.microsoft.com/office/drawing/2014/main" id="{EABD3264-D06E-4ADC-B0FA-5854D599B95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0" name="Picture 19">
            <a:extLst>
              <a:ext uri="{FF2B5EF4-FFF2-40B4-BE49-F238E27FC236}">
                <a16:creationId xmlns:a16="http://schemas.microsoft.com/office/drawing/2014/main" id="{647786D5-5F7F-4707-B375-604BA38076A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1" name="Straight Connector 20">
            <a:extLst>
              <a:ext uri="{FF2B5EF4-FFF2-40B4-BE49-F238E27FC236}">
                <a16:creationId xmlns:a16="http://schemas.microsoft.com/office/drawing/2014/main" id="{7678F8AF-E940-43D5-9099-43318FFA573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2A48F5C4-D489-4963-8A19-E88F8B9C3C00}"/>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80089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E60DAB-EAEE-431C-BA45-E61F3D2FC500}"/>
              </a:ext>
            </a:extLst>
          </p:cNvPr>
          <p:cNvGraphicFramePr>
            <a:graphicFrameLocks noChangeAspect="1"/>
          </p:cNvGraphicFramePr>
          <p:nvPr userDrawn="1">
            <p:custDataLst>
              <p:tags r:id="rId2"/>
            </p:custDataLst>
            <p:extLst>
              <p:ext uri="{D42A27DB-BD31-4B8C-83A1-F6EECF244321}">
                <p14:modId xmlns:p14="http://schemas.microsoft.com/office/powerpoint/2010/main" val="1343791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1DE60DAB-EAEE-431C-BA45-E61F3D2FC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D9FD6A-F917-424C-AEE8-ABA8D57D5ED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4038B49E-3AD8-48A4-8D11-827D42812B61}"/>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
        <p:nvSpPr>
          <p:cNvPr id="20" name="Rectangle 19">
            <a:extLst>
              <a:ext uri="{FF2B5EF4-FFF2-40B4-BE49-F238E27FC236}">
                <a16:creationId xmlns:a16="http://schemas.microsoft.com/office/drawing/2014/main" id="{D70E2094-BB18-4CF7-BEF7-BEBAD26BB685}"/>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21" name="Line">
            <a:extLst>
              <a:ext uri="{FF2B5EF4-FFF2-40B4-BE49-F238E27FC236}">
                <a16:creationId xmlns:a16="http://schemas.microsoft.com/office/drawing/2014/main" id="{57B141A1-A19F-43A8-8F8D-F78CCE0E402B}"/>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2" name="Freeform 5">
            <a:extLst>
              <a:ext uri="{FF2B5EF4-FFF2-40B4-BE49-F238E27FC236}">
                <a16:creationId xmlns:a16="http://schemas.microsoft.com/office/drawing/2014/main" id="{C7FEDC67-981C-4791-9049-0E1F60228A7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3" name="Picture 22">
            <a:extLst>
              <a:ext uri="{FF2B5EF4-FFF2-40B4-BE49-F238E27FC236}">
                <a16:creationId xmlns:a16="http://schemas.microsoft.com/office/drawing/2014/main" id="{863DD89B-A2B8-4C70-A348-C2B3CC05CC4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4" name="Straight Connector 23">
            <a:extLst>
              <a:ext uri="{FF2B5EF4-FFF2-40B4-BE49-F238E27FC236}">
                <a16:creationId xmlns:a16="http://schemas.microsoft.com/office/drawing/2014/main" id="{4D022234-AE6B-43FA-96A1-A6DF62547422}"/>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CA8FB668-F53F-41C4-BB20-2918FA613B4E}"/>
              </a:ext>
            </a:extLst>
          </p:cNvPr>
          <p:cNvGrpSpPr/>
          <p:nvPr userDrawn="1"/>
        </p:nvGrpSpPr>
        <p:grpSpPr>
          <a:xfrm>
            <a:off x="2784347" y="1154132"/>
            <a:ext cx="2697480" cy="3989370"/>
            <a:chOff x="2784347" y="1227222"/>
            <a:chExt cx="2697480" cy="3916279"/>
          </a:xfrm>
        </p:grpSpPr>
        <p:cxnSp>
          <p:nvCxnSpPr>
            <p:cNvPr id="26" name="Straight Connector 25">
              <a:extLst>
                <a:ext uri="{FF2B5EF4-FFF2-40B4-BE49-F238E27FC236}">
                  <a16:creationId xmlns:a16="http://schemas.microsoft.com/office/drawing/2014/main" id="{F62D440D-7243-4FB7-A07C-65B1507AB186}"/>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36F9942-E282-4ABF-892D-A4D70DD1E37F}"/>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807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CE49B4-1EED-40A1-BDB9-050D5E2F2794}"/>
              </a:ext>
            </a:extLst>
          </p:cNvPr>
          <p:cNvGraphicFramePr>
            <a:graphicFrameLocks noChangeAspect="1"/>
          </p:cNvGraphicFramePr>
          <p:nvPr userDrawn="1">
            <p:custDataLst>
              <p:tags r:id="rId2"/>
            </p:custDataLst>
            <p:extLst>
              <p:ext uri="{D42A27DB-BD31-4B8C-83A1-F6EECF244321}">
                <p14:modId xmlns:p14="http://schemas.microsoft.com/office/powerpoint/2010/main" val="239493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34CE49B4-1EED-40A1-BDB9-050D5E2F27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BABB4B-A858-4C25-A40E-F91D8D09387D}"/>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3081527"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14C03F7C-84B3-4FE9-9264-BA3B86A12D2C}"/>
              </a:ext>
            </a:extLst>
          </p:cNvPr>
          <p:cNvGrpSpPr/>
          <p:nvPr userDrawn="1"/>
        </p:nvGrpSpPr>
        <p:grpSpPr>
          <a:xfrm>
            <a:off x="2784347" y="1154132"/>
            <a:ext cx="2697480" cy="3989370"/>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5779008" y="1435607"/>
            <a:ext cx="2103120" cy="3200400"/>
          </a:xfrm>
        </p:spPr>
        <p:txBody>
          <a:bodyPr>
            <a:noAutofit/>
          </a:bodyPr>
          <a:lstStyle>
            <a:lvl1pPr>
              <a:lnSpc>
                <a:spcPct val="100000"/>
              </a:lnSpc>
              <a:spcBef>
                <a:spcPts val="600"/>
              </a:spcBef>
              <a:spcAft>
                <a:spcPts val="120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solidFill>
                  <a:schemeClr val="tx1"/>
                </a:solidFill>
              </a:defRPr>
            </a:lvl4pPr>
            <a:lvl5pPr marL="457189" indent="-114297">
              <a:lnSpc>
                <a:spcPct val="100000"/>
              </a:lnSpc>
              <a:spcBef>
                <a:spcPts val="0"/>
              </a:spcBef>
              <a:spcAft>
                <a:spcPts val="600"/>
              </a:spcAft>
              <a:buClr>
                <a:schemeClr val="accent1"/>
              </a:buClr>
              <a:buFont typeface="Taub Sans" pitchFamily="2"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DC16761-BBED-4CA6-9E90-AD6A92C1922A}"/>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20" name="Line">
            <a:extLst>
              <a:ext uri="{FF2B5EF4-FFF2-40B4-BE49-F238E27FC236}">
                <a16:creationId xmlns:a16="http://schemas.microsoft.com/office/drawing/2014/main" id="{3DD639BD-C918-4BEF-991E-EA312306706B}"/>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21" name="Freeform 5">
            <a:extLst>
              <a:ext uri="{FF2B5EF4-FFF2-40B4-BE49-F238E27FC236}">
                <a16:creationId xmlns:a16="http://schemas.microsoft.com/office/drawing/2014/main" id="{B241579E-0184-4E27-ABEE-8A6FFF650F06}"/>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2" name="Picture 21">
            <a:extLst>
              <a:ext uri="{FF2B5EF4-FFF2-40B4-BE49-F238E27FC236}">
                <a16:creationId xmlns:a16="http://schemas.microsoft.com/office/drawing/2014/main" id="{1FB47625-9BE2-4DCD-A70F-0CD96B251EB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cxnSp>
        <p:nvCxnSpPr>
          <p:cNvPr id="23" name="Straight Connector 22">
            <a:extLst>
              <a:ext uri="{FF2B5EF4-FFF2-40B4-BE49-F238E27FC236}">
                <a16:creationId xmlns:a16="http://schemas.microsoft.com/office/drawing/2014/main" id="{3C4982A7-82DF-4624-967E-166EE3E18AEB}"/>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0">
            <a:extLst>
              <a:ext uri="{FF2B5EF4-FFF2-40B4-BE49-F238E27FC236}">
                <a16:creationId xmlns:a16="http://schemas.microsoft.com/office/drawing/2014/main" id="{747F8797-5ED7-43E5-B054-BF7734BB5150}"/>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5166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4"/>
            <a:ext cx="7498080" cy="153888"/>
          </a:xfrm>
        </p:spPr>
        <p:txBody>
          <a:bodyPr/>
          <a:lstStyle>
            <a:lvl1pPr>
              <a:defRPr sz="1000"/>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240631" y="567922"/>
            <a:ext cx="0" cy="456778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1" y="567918"/>
            <a:ext cx="8161103"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dirty="0"/>
              <a:t>Footer in sentence case</a:t>
            </a:r>
          </a:p>
        </p:txBody>
      </p:sp>
      <p:pic>
        <p:nvPicPr>
          <p:cNvPr id="11" name="Picture 10">
            <a:extLst>
              <a:ext uri="{FF2B5EF4-FFF2-40B4-BE49-F238E27FC236}">
                <a16:creationId xmlns:a16="http://schemas.microsoft.com/office/drawing/2014/main" id="{CF66FCB4-336A-486F-87C3-6B863979B8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0207" y="921820"/>
            <a:ext cx="5965764" cy="3809463"/>
          </a:xfrm>
          <a:prstGeom prst="rect">
            <a:avLst/>
          </a:prstGeom>
        </p:spPr>
      </p:pic>
      <p:sp>
        <p:nvSpPr>
          <p:cNvPr id="13" name="Picture Placeholder 10">
            <a:extLst>
              <a:ext uri="{FF2B5EF4-FFF2-40B4-BE49-F238E27FC236}">
                <a16:creationId xmlns:a16="http://schemas.microsoft.com/office/drawing/2014/main" id="{113E523C-B21B-4777-94E3-0121EDA88383}"/>
              </a:ext>
            </a:extLst>
          </p:cNvPr>
          <p:cNvSpPr>
            <a:spLocks noGrp="1"/>
          </p:cNvSpPr>
          <p:nvPr>
            <p:ph type="pic" sz="quarter" idx="16"/>
          </p:nvPr>
        </p:nvSpPr>
        <p:spPr>
          <a:xfrm>
            <a:off x="1853441" y="1191027"/>
            <a:ext cx="4561009" cy="2882831"/>
          </a:xfrm>
          <a:ln w="6350">
            <a:solidFill>
              <a:schemeClr val="tx1">
                <a:lumMod val="40000"/>
                <a:lumOff val="60000"/>
              </a:schemeClr>
            </a:solidFill>
          </a:ln>
        </p:spPr>
        <p:txBody>
          <a:bodyPr anchor="ctr">
            <a:noAutofit/>
          </a:bodyPr>
          <a:lstStyle>
            <a:lvl1pPr algn="ctr">
              <a:defRPr/>
            </a:lvl1pPr>
          </a:lstStyle>
          <a:p>
            <a:endParaRPr lang="en-US" dirty="0"/>
          </a:p>
        </p:txBody>
      </p:sp>
      <p:sp>
        <p:nvSpPr>
          <p:cNvPr id="16" name="Rectangle 15">
            <a:extLst>
              <a:ext uri="{FF2B5EF4-FFF2-40B4-BE49-F238E27FC236}">
                <a16:creationId xmlns:a16="http://schemas.microsoft.com/office/drawing/2014/main" id="{11651465-4E63-4DC2-90BC-D084E0BA04E4}"/>
              </a:ext>
            </a:extLst>
          </p:cNvPr>
          <p:cNvSpPr/>
          <p:nvPr userDrawn="1"/>
        </p:nvSpPr>
        <p:spPr>
          <a:xfrm>
            <a:off x="8161101" y="1154131"/>
            <a:ext cx="982899" cy="3989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13" dirty="0"/>
          </a:p>
        </p:txBody>
      </p:sp>
      <p:sp>
        <p:nvSpPr>
          <p:cNvPr id="17" name="Line">
            <a:extLst>
              <a:ext uri="{FF2B5EF4-FFF2-40B4-BE49-F238E27FC236}">
                <a16:creationId xmlns:a16="http://schemas.microsoft.com/office/drawing/2014/main" id="{1F651D20-C943-48DD-A4EA-DD873C08BDA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308FA209-2F6E-4477-B422-B5BD722FABC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lvl="0"/>
            <a:endParaRPr lang="en-US" sz="1800" dirty="0"/>
          </a:p>
        </p:txBody>
      </p:sp>
      <p:pic>
        <p:nvPicPr>
          <p:cNvPr id="20" name="Picture 19">
            <a:extLst>
              <a:ext uri="{FF2B5EF4-FFF2-40B4-BE49-F238E27FC236}">
                <a16:creationId xmlns:a16="http://schemas.microsoft.com/office/drawing/2014/main" id="{50C6E95A-47C5-4143-AF3B-9468448915F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Tree>
    <p:extLst>
      <p:ext uri="{BB962C8B-B14F-4D97-AF65-F5344CB8AC3E}">
        <p14:creationId xmlns:p14="http://schemas.microsoft.com/office/powerpoint/2010/main" val="189858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D0DBFA-3A74-4E94-BD4A-8B7655A6071D}"/>
              </a:ext>
            </a:extLst>
          </p:cNvPr>
          <p:cNvGraphicFramePr>
            <a:graphicFrameLocks noChangeAspect="1"/>
          </p:cNvGraphicFramePr>
          <p:nvPr userDrawn="1">
            <p:custDataLst>
              <p:tags r:id="rId2"/>
            </p:custDataLst>
            <p:extLst>
              <p:ext uri="{D42A27DB-BD31-4B8C-83A1-F6EECF244321}">
                <p14:modId xmlns:p14="http://schemas.microsoft.com/office/powerpoint/2010/main" val="119170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37D0DBFA-3A74-4E94-BD4A-8B7655A607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3666A3-BBA3-4999-9D82-C776FE4390D5}"/>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A7B4C6CB-D921-4A04-A8AD-60D3585DF5A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cxnSp>
        <p:nvCxnSpPr>
          <p:cNvPr id="8" name="Straight Connector 7">
            <a:extLst>
              <a:ext uri="{FF2B5EF4-FFF2-40B4-BE49-F238E27FC236}">
                <a16:creationId xmlns:a16="http://schemas.microsoft.com/office/drawing/2014/main" id="{B8A3BE3A-D99B-49D0-947C-89EADEC7FBF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86DEA7E-DF99-4799-B188-D6B143A3F43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Tree>
    <p:extLst>
      <p:ext uri="{BB962C8B-B14F-4D97-AF65-F5344CB8AC3E}">
        <p14:creationId xmlns:p14="http://schemas.microsoft.com/office/powerpoint/2010/main" val="78010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0064F7-AF22-40BE-9CA3-E37719D48212}"/>
              </a:ext>
            </a:extLst>
          </p:cNvPr>
          <p:cNvGraphicFramePr>
            <a:graphicFrameLocks noChangeAspect="1"/>
          </p:cNvGraphicFramePr>
          <p:nvPr userDrawn="1">
            <p:custDataLst>
              <p:tags r:id="rId2"/>
            </p:custDataLst>
            <p:extLst>
              <p:ext uri="{D42A27DB-BD31-4B8C-83A1-F6EECF244321}">
                <p14:modId xmlns:p14="http://schemas.microsoft.com/office/powerpoint/2010/main" val="31896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A00064F7-AF22-40BE-9CA3-E37719D482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19B743-0187-4CB4-958A-0455FB6CF99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pic>
        <p:nvPicPr>
          <p:cNvPr id="11" name="Picture 10">
            <a:extLst>
              <a:ext uri="{FF2B5EF4-FFF2-40B4-BE49-F238E27FC236}">
                <a16:creationId xmlns:a16="http://schemas.microsoft.com/office/drawing/2014/main" id="{7CC43802-EA1D-4F03-AF42-2091D5FAF9E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2" name="Straight Connector 11">
            <a:extLst>
              <a:ext uri="{FF2B5EF4-FFF2-40B4-BE49-F238E27FC236}">
                <a16:creationId xmlns:a16="http://schemas.microsoft.com/office/drawing/2014/main" id="{1CCAC2F7-2AE2-47EA-A4F9-69B87B0A282C}"/>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CA79A96-A46A-4043-8DE4-59AEF3E0EA61}"/>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44309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0F1231-669A-440E-BC57-6147B2051CAC}"/>
              </a:ext>
            </a:extLst>
          </p:cNvPr>
          <p:cNvGraphicFramePr>
            <a:graphicFrameLocks noChangeAspect="1"/>
          </p:cNvGraphicFramePr>
          <p:nvPr userDrawn="1">
            <p:custDataLst>
              <p:tags r:id="rId2"/>
            </p:custDataLst>
            <p:extLst>
              <p:ext uri="{D42A27DB-BD31-4B8C-83A1-F6EECF244321}">
                <p14:modId xmlns:p14="http://schemas.microsoft.com/office/powerpoint/2010/main" val="3815818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0B0F1231-669A-440E-BC57-6147B2051C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F8C30D-A4F8-4451-9364-1774F3409132}"/>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C1B80E51-09F2-4875-A1A3-8C9492D9A4D8}"/>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DD7C9F0-9337-4F45-9A15-76799309AF8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975" t="39671" r="20820" b="-1806"/>
          <a:stretch/>
        </p:blipFill>
        <p:spPr>
          <a:xfrm>
            <a:off x="8161103" y="1"/>
            <a:ext cx="982899" cy="1081040"/>
          </a:xfrm>
          <a:prstGeom prst="rect">
            <a:avLst/>
          </a:prstGeom>
        </p:spPr>
      </p:pic>
      <p:sp>
        <p:nvSpPr>
          <p:cNvPr id="14" name="Text Placeholder 10">
            <a:extLst>
              <a:ext uri="{FF2B5EF4-FFF2-40B4-BE49-F238E27FC236}">
                <a16:creationId xmlns:a16="http://schemas.microsoft.com/office/drawing/2014/main" id="{A3C0AB17-4264-4D72-808B-AC803E22317A}"/>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115874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57C5E0-4C80-4B69-A148-F3C17F950220}"/>
              </a:ext>
            </a:extLst>
          </p:cNvPr>
          <p:cNvGraphicFramePr>
            <a:graphicFrameLocks noChangeAspect="1"/>
          </p:cNvGraphicFramePr>
          <p:nvPr userDrawn="1">
            <p:custDataLst>
              <p:tags r:id="rId2"/>
            </p:custDataLst>
            <p:extLst>
              <p:ext uri="{D42A27DB-BD31-4B8C-83A1-F6EECF244321}">
                <p14:modId xmlns:p14="http://schemas.microsoft.com/office/powerpoint/2010/main" val="36678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8557C5E0-4C80-4B69-A148-F3C17F9502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2024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nk with footers">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DE31329D-88B6-45C4-8073-2C24DC944D73}"/>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p>
            <a:fld id="{0C691DA3-4ABE-49F3-91E6-D9975CC9DD5F}" type="slidenum">
              <a:rPr lang="en-US" smtClean="0"/>
              <a:pPr/>
              <a:t>‹#›</a:t>
            </a:fld>
            <a:endParaRPr lang="en-US" dirty="0"/>
          </a:p>
        </p:txBody>
      </p:sp>
      <p:sp>
        <p:nvSpPr>
          <p:cNvPr id="6" name="ADP MAS Executive Overview…">
            <a:extLst>
              <a:ext uri="{FF2B5EF4-FFF2-40B4-BE49-F238E27FC236}">
                <a16:creationId xmlns:a16="http://schemas.microsoft.com/office/drawing/2014/main" id="{6A947CE5-0EAA-2F40-A27D-9F3F27F1E304}"/>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600" dirty="0">
                <a:solidFill>
                  <a:schemeClr val="tx1"/>
                </a:solidFill>
                <a:latin typeface="+mn-lt"/>
              </a:rPr>
              <a:t>Copyright © 2020 ADP, LLC. Proprietary and Confidential.</a:t>
            </a:r>
          </a:p>
        </p:txBody>
      </p:sp>
    </p:spTree>
    <p:extLst>
      <p:ext uri="{BB962C8B-B14F-4D97-AF65-F5344CB8AC3E}">
        <p14:creationId xmlns:p14="http://schemas.microsoft.com/office/powerpoint/2010/main" val="323179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15FF45-D6DE-47A4-8D65-918493192ACD}"/>
              </a:ext>
            </a:extLst>
          </p:cNvPr>
          <p:cNvGraphicFramePr>
            <a:graphicFrameLocks noChangeAspect="1"/>
          </p:cNvGraphicFramePr>
          <p:nvPr userDrawn="1">
            <p:custDataLst>
              <p:tags r:id="rId2"/>
            </p:custDataLst>
            <p:extLst>
              <p:ext uri="{D42A27DB-BD31-4B8C-83A1-F6EECF244321}">
                <p14:modId xmlns:p14="http://schemas.microsoft.com/office/powerpoint/2010/main" val="1752910857"/>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5A15FF45-D6DE-47A4-8D65-918493192ACD}"/>
                          </a:ext>
                        </a:extLst>
                      </p:cNvPr>
                      <p:cNvPicPr/>
                      <p:nvPr/>
                    </p:nvPicPr>
                    <p:blipFill>
                      <a:blip r:embed="rId5"/>
                      <a:stretch>
                        <a:fillRect/>
                      </a:stretch>
                    </p:blipFill>
                    <p:spPr>
                      <a:xfrm>
                        <a:off x="1590" y="1589"/>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8127F88-BC07-463A-8BC2-977CAC290F1A}"/>
              </a:ext>
            </a:extLst>
          </p:cNvPr>
          <p:cNvSpPr>
            <a:spLocks noGrp="1"/>
          </p:cNvSpPr>
          <p:nvPr>
            <p:ph type="body" sz="quarter" idx="16" hasCustomPrompt="1"/>
          </p:nvPr>
        </p:nvSpPr>
        <p:spPr>
          <a:xfrm>
            <a:off x="0" y="0"/>
            <a:ext cx="9144000" cy="5143500"/>
          </a:xfrm>
          <a:solidFill>
            <a:schemeClr val="tx1">
              <a:lumMod val="50000"/>
              <a:alpha val="60000"/>
            </a:schemeClr>
          </a:solidFill>
        </p:spPr>
        <p:txBody>
          <a:bodyPr>
            <a:noAutofit/>
          </a:bodyPr>
          <a:lstStyle>
            <a:lvl1pPr>
              <a:defRPr/>
            </a:lvl1pPr>
          </a:lstStyle>
          <a:p>
            <a:pPr lvl="0"/>
            <a:r>
              <a:rPr lang="en-US"/>
              <a:t> </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997888" y="828589"/>
            <a:ext cx="5120972" cy="3431709"/>
          </a:xfrm>
        </p:spPr>
        <p:txBody>
          <a:bodyPr wrap="square" anchor="ctr">
            <a:spAutoFit/>
          </a:bodyPr>
          <a:lstStyle>
            <a:lvl1pPr>
              <a:lnSpc>
                <a:spcPct val="100000"/>
              </a:lnSpc>
              <a:spcAft>
                <a:spcPts val="3600"/>
              </a:spcAft>
              <a:defRPr sz="2800">
                <a:solidFill>
                  <a:schemeClr val="bg1"/>
                </a:solidFill>
              </a:defRPr>
            </a:lvl1pPr>
            <a:lvl2pPr marL="0" indent="0">
              <a:lnSpc>
                <a:spcPct val="100000"/>
              </a:lnSpc>
              <a:buFont typeface="Arial" panose="020B0604020202020204" pitchFamily="34" charset="0"/>
              <a:buNone/>
              <a:defRPr sz="1000" b="1">
                <a:solidFill>
                  <a:schemeClr val="bg1"/>
                </a:solidFill>
              </a:defRPr>
            </a:lvl2pPr>
            <a:lvl3pPr marL="0" indent="0">
              <a:buNone/>
              <a:defRPr sz="1000" b="0">
                <a:solidFill>
                  <a:schemeClr val="bg1"/>
                </a:solidFill>
              </a:defRPr>
            </a:lvl3pPr>
          </a:lstStyle>
          <a:p>
            <a:pPr lvl="0"/>
            <a:r>
              <a:rPr lang="en-US" dirty="0"/>
              <a:t>Lorem ipsum dolor sit amet, consectetuer adipiscing elit. </a:t>
            </a:r>
            <a:r>
              <a:rPr lang="en-US"/>
              <a:t>Maecenas porttitor congue massa. Fusce posuere, magna sed pulvinar </a:t>
            </a:r>
            <a:r>
              <a:rPr lang="en-US" dirty="0"/>
              <a:t>ultricies, purus lectus malesuada libero, sit </a:t>
            </a:r>
            <a:r>
              <a:rPr lang="en-US"/>
              <a:t>amet commodo.</a:t>
            </a:r>
          </a:p>
          <a:p>
            <a:pPr lvl="1"/>
            <a:r>
              <a:rPr lang="en-US"/>
              <a:t>Name</a:t>
            </a:r>
          </a:p>
          <a:p>
            <a:pPr lvl="2"/>
            <a:r>
              <a:rPr lang="en-US"/>
              <a:t>Title, Company</a:t>
            </a:r>
            <a:endParaRPr lang="en-US" dirty="0"/>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dirty="0"/>
          </a:p>
        </p:txBody>
      </p:sp>
      <p:sp>
        <p:nvSpPr>
          <p:cNvPr id="14" name="Freeform 5">
            <a:extLst>
              <a:ext uri="{FF2B5EF4-FFF2-40B4-BE49-F238E27FC236}">
                <a16:creationId xmlns:a16="http://schemas.microsoft.com/office/drawing/2014/main" id="{C0EA8C8D-8745-4DF3-979D-E9826327AC4B}"/>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3" name="Picture Placeholder 2">
            <a:extLst>
              <a:ext uri="{FF2B5EF4-FFF2-40B4-BE49-F238E27FC236}">
                <a16:creationId xmlns:a16="http://schemas.microsoft.com/office/drawing/2014/main" id="{D84F1289-316D-4E4E-B594-9F5DD5D5B301}"/>
              </a:ext>
            </a:extLst>
          </p:cNvPr>
          <p:cNvSpPr>
            <a:spLocks noGrp="1"/>
          </p:cNvSpPr>
          <p:nvPr>
            <p:ph type="pic" sz="quarter" idx="15" hasCustomPrompt="1"/>
          </p:nvPr>
        </p:nvSpPr>
        <p:spPr>
          <a:xfrm>
            <a:off x="0" y="0"/>
            <a:ext cx="9144000" cy="5143500"/>
          </a:xfrm>
        </p:spPr>
        <p:txBody>
          <a:bodyPr rIns="822960" anchor="ctr">
            <a:noAutofit/>
          </a:bodyPr>
          <a:lstStyle>
            <a:lvl1pPr algn="r">
              <a:defRPr>
                <a:solidFill>
                  <a:schemeClr val="tx1">
                    <a:lumMod val="50000"/>
                    <a:lumOff val="50000"/>
                  </a:schemeClr>
                </a:solidFill>
              </a:defRPr>
            </a:lvl1pPr>
          </a:lstStyle>
          <a:p>
            <a:r>
              <a:rPr lang="en-US" dirty="0"/>
              <a:t>Click icon to insert picture</a:t>
            </a:r>
            <a:br>
              <a:rPr lang="en-US" dirty="0"/>
            </a:br>
            <a:r>
              <a:rPr lang="en-US" dirty="0"/>
              <a:t>Then right click &gt; Send to back</a:t>
            </a:r>
          </a:p>
        </p:txBody>
      </p:sp>
    </p:spTree>
    <p:extLst>
      <p:ext uri="{BB962C8B-B14F-4D97-AF65-F5344CB8AC3E}">
        <p14:creationId xmlns:p14="http://schemas.microsoft.com/office/powerpoint/2010/main" val="295016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hape placeholders">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04F6B880-60E4-4DB3-B889-E0B61D50985B}"/>
              </a:ext>
            </a:extLst>
          </p:cNvPr>
          <p:cNvSpPr>
            <a:spLocks noGrp="1"/>
          </p:cNvSpPr>
          <p:nvPr>
            <p:ph type="pic" sz="quarter" idx="10" hasCustomPrompt="1"/>
          </p:nvPr>
        </p:nvSpPr>
        <p:spPr>
          <a:xfrm>
            <a:off x="974488" y="1802529"/>
            <a:ext cx="1481024" cy="1547969"/>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3" name="Picture Placeholder 15">
            <a:extLst>
              <a:ext uri="{FF2B5EF4-FFF2-40B4-BE49-F238E27FC236}">
                <a16:creationId xmlns:a16="http://schemas.microsoft.com/office/drawing/2014/main" id="{44838902-57FB-4B8F-843C-0B8F6A10A237}"/>
              </a:ext>
            </a:extLst>
          </p:cNvPr>
          <p:cNvSpPr>
            <a:spLocks noGrp="1"/>
          </p:cNvSpPr>
          <p:nvPr>
            <p:ph type="pic" sz="quarter" idx="11" hasCustomPrompt="1"/>
          </p:nvPr>
        </p:nvSpPr>
        <p:spPr>
          <a:xfrm>
            <a:off x="3046250" y="1737695"/>
            <a:ext cx="1437629" cy="1590425"/>
          </a:xfrm>
          <a:custGeom>
            <a:avLst/>
            <a:gdLst>
              <a:gd name="connsiteX0" fmla="*/ 721273 w 1437629"/>
              <a:gd name="connsiteY0" fmla="*/ 5 h 1590425"/>
              <a:gd name="connsiteX1" fmla="*/ 1413365 w 1437629"/>
              <a:gd name="connsiteY1" fmla="*/ 532277 h 1590425"/>
              <a:gd name="connsiteX2" fmla="*/ 1432882 w 1437629"/>
              <a:gd name="connsiteY2" fmla="*/ 634056 h 1590425"/>
              <a:gd name="connsiteX3" fmla="*/ 1437629 w 1437629"/>
              <a:gd name="connsiteY3" fmla="*/ 730560 h 1590425"/>
              <a:gd name="connsiteX4" fmla="*/ 1302070 w 1437629"/>
              <a:gd name="connsiteY4" fmla="*/ 1117106 h 1590425"/>
              <a:gd name="connsiteX5" fmla="*/ 1191301 w 1437629"/>
              <a:gd name="connsiteY5" fmla="*/ 1243142 h 1590425"/>
              <a:gd name="connsiteX6" fmla="*/ 281947 w 1437629"/>
              <a:gd name="connsiteY6" fmla="*/ 1508925 h 1590425"/>
              <a:gd name="connsiteX7" fmla="*/ 1862 w 1437629"/>
              <a:gd name="connsiteY7" fmla="*/ 779076 h 1590425"/>
              <a:gd name="connsiteX8" fmla="*/ 11356 w 1437629"/>
              <a:gd name="connsiteY8" fmla="*/ 609798 h 1590425"/>
              <a:gd name="connsiteX9" fmla="*/ 577329 w 1437629"/>
              <a:gd name="connsiteY9" fmla="*/ 15477 h 1590425"/>
              <a:gd name="connsiteX10" fmla="*/ 721273 w 1437629"/>
              <a:gd name="connsiteY10" fmla="*/ 5 h 159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629" h="1590425">
                <a:moveTo>
                  <a:pt x="721273" y="5"/>
                </a:moveTo>
                <a:cubicBezTo>
                  <a:pt x="1049734" y="-1365"/>
                  <a:pt x="1320597" y="232349"/>
                  <a:pt x="1413365" y="532277"/>
                </a:cubicBezTo>
                <a:cubicBezTo>
                  <a:pt x="1423387" y="566028"/>
                  <a:pt x="1428134" y="600306"/>
                  <a:pt x="1432882" y="634056"/>
                </a:cubicBezTo>
                <a:cubicBezTo>
                  <a:pt x="1437629" y="667806"/>
                  <a:pt x="1437629" y="701556"/>
                  <a:pt x="1437629" y="730560"/>
                </a:cubicBezTo>
                <a:cubicBezTo>
                  <a:pt x="1437629" y="866089"/>
                  <a:pt x="1389629" y="1001090"/>
                  <a:pt x="1302070" y="1117106"/>
                </a:cubicBezTo>
                <a:cubicBezTo>
                  <a:pt x="1273586" y="1160876"/>
                  <a:pt x="1234554" y="1204118"/>
                  <a:pt x="1191301" y="1243142"/>
                </a:cubicBezTo>
                <a:cubicBezTo>
                  <a:pt x="944447" y="1421913"/>
                  <a:pt x="601065" y="1740958"/>
                  <a:pt x="281947" y="1508925"/>
                </a:cubicBezTo>
                <a:cubicBezTo>
                  <a:pt x="49861" y="1330154"/>
                  <a:pt x="35620" y="1030094"/>
                  <a:pt x="1862" y="779076"/>
                </a:cubicBezTo>
                <a:cubicBezTo>
                  <a:pt x="-2885" y="725814"/>
                  <a:pt x="1862" y="667806"/>
                  <a:pt x="11356" y="609798"/>
                </a:cubicBezTo>
                <a:cubicBezTo>
                  <a:pt x="49861" y="333995"/>
                  <a:pt x="262958" y="73485"/>
                  <a:pt x="577329" y="15477"/>
                </a:cubicBezTo>
                <a:cubicBezTo>
                  <a:pt x="626252" y="5194"/>
                  <a:pt x="674350" y="201"/>
                  <a:pt x="721273" y="5"/>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4" name="Picture Placeholder 18">
            <a:extLst>
              <a:ext uri="{FF2B5EF4-FFF2-40B4-BE49-F238E27FC236}">
                <a16:creationId xmlns:a16="http://schemas.microsoft.com/office/drawing/2014/main" id="{5AD90298-1F9C-4F4B-A63A-9340A4704039}"/>
              </a:ext>
            </a:extLst>
          </p:cNvPr>
          <p:cNvSpPr>
            <a:spLocks noGrp="1"/>
          </p:cNvSpPr>
          <p:nvPr>
            <p:ph type="pic" sz="quarter" idx="12" hasCustomPrompt="1"/>
          </p:nvPr>
        </p:nvSpPr>
        <p:spPr>
          <a:xfrm>
            <a:off x="5074615" y="1799403"/>
            <a:ext cx="1343944" cy="1544696"/>
          </a:xfrm>
          <a:custGeom>
            <a:avLst/>
            <a:gdLst>
              <a:gd name="connsiteX0" fmla="*/ 608399 w 1343944"/>
              <a:gd name="connsiteY0" fmla="*/ 135 h 1544696"/>
              <a:gd name="connsiteX1" fmla="*/ 705129 w 1343944"/>
              <a:gd name="connsiteY1" fmla="*/ 4424 h 1544696"/>
              <a:gd name="connsiteX2" fmla="*/ 816326 w 1343944"/>
              <a:gd name="connsiteY2" fmla="*/ 4424 h 1544696"/>
              <a:gd name="connsiteX3" fmla="*/ 932267 w 1343944"/>
              <a:gd name="connsiteY3" fmla="*/ 9165 h 1544696"/>
              <a:gd name="connsiteX4" fmla="*/ 1033978 w 1343944"/>
              <a:gd name="connsiteY4" fmla="*/ 28655 h 1544696"/>
              <a:gd name="connsiteX5" fmla="*/ 1115663 w 1343944"/>
              <a:gd name="connsiteY5" fmla="*/ 77118 h 1544696"/>
              <a:gd name="connsiteX6" fmla="*/ 1139905 w 1343944"/>
              <a:gd name="connsiteY6" fmla="*/ 100822 h 1544696"/>
              <a:gd name="connsiteX7" fmla="*/ 1304330 w 1343944"/>
              <a:gd name="connsiteY7" fmla="*/ 400554 h 1544696"/>
              <a:gd name="connsiteX8" fmla="*/ 1342801 w 1343944"/>
              <a:gd name="connsiteY8" fmla="*/ 767185 h 1544696"/>
              <a:gd name="connsiteX9" fmla="*/ 1280088 w 1343944"/>
              <a:gd name="connsiteY9" fmla="*/ 1119594 h 1544696"/>
              <a:gd name="connsiteX10" fmla="*/ 1139905 w 1343944"/>
              <a:gd name="connsiteY10" fmla="*/ 1370863 h 1544696"/>
              <a:gd name="connsiteX11" fmla="*/ 1023965 w 1343944"/>
              <a:gd name="connsiteY11" fmla="*/ 1457780 h 1544696"/>
              <a:gd name="connsiteX12" fmla="*/ 869553 w 1343944"/>
              <a:gd name="connsiteY12" fmla="*/ 1506242 h 1544696"/>
              <a:gd name="connsiteX13" fmla="*/ 787341 w 1343944"/>
              <a:gd name="connsiteY13" fmla="*/ 1525206 h 1544696"/>
              <a:gd name="connsiteX14" fmla="*/ 613430 w 1343944"/>
              <a:gd name="connsiteY14" fmla="*/ 1544696 h 1544696"/>
              <a:gd name="connsiteX15" fmla="*/ 410534 w 1343944"/>
              <a:gd name="connsiteY15" fmla="*/ 1525206 h 1544696"/>
              <a:gd name="connsiteX16" fmla="*/ 241367 w 1343944"/>
              <a:gd name="connsiteY16" fmla="*/ 1438816 h 1544696"/>
              <a:gd name="connsiteX17" fmla="*/ 43214 w 1343944"/>
              <a:gd name="connsiteY17" fmla="*/ 1047427 h 1544696"/>
              <a:gd name="connsiteX18" fmla="*/ 9486 w 1343944"/>
              <a:gd name="connsiteY18" fmla="*/ 820389 h 1544696"/>
              <a:gd name="connsiteX19" fmla="*/ 0 w 1343944"/>
              <a:gd name="connsiteY19" fmla="*/ 574388 h 1544696"/>
              <a:gd name="connsiteX20" fmla="*/ 38471 w 1343944"/>
              <a:gd name="connsiteY20" fmla="*/ 342609 h 1544696"/>
              <a:gd name="connsiteX21" fmla="*/ 154411 w 1343944"/>
              <a:gd name="connsiteY21" fmla="*/ 154026 h 1544696"/>
              <a:gd name="connsiteX22" fmla="*/ 372063 w 1343944"/>
              <a:gd name="connsiteY22" fmla="*/ 28655 h 1544696"/>
              <a:gd name="connsiteX23" fmla="*/ 608399 w 1343944"/>
              <a:gd name="connsiteY23" fmla="*/ 135 h 154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3944" h="1544696">
                <a:moveTo>
                  <a:pt x="608399" y="135"/>
                </a:moveTo>
                <a:cubicBezTo>
                  <a:pt x="639155" y="572"/>
                  <a:pt x="671401" y="2053"/>
                  <a:pt x="705129" y="4424"/>
                </a:cubicBezTo>
                <a:cubicBezTo>
                  <a:pt x="738857" y="9165"/>
                  <a:pt x="777855" y="9165"/>
                  <a:pt x="816326" y="4424"/>
                </a:cubicBezTo>
                <a:cubicBezTo>
                  <a:pt x="860067" y="4424"/>
                  <a:pt x="893796" y="4424"/>
                  <a:pt x="932267" y="9165"/>
                </a:cubicBezTo>
                <a:cubicBezTo>
                  <a:pt x="965995" y="9165"/>
                  <a:pt x="999723" y="19173"/>
                  <a:pt x="1033978" y="28655"/>
                </a:cubicBezTo>
                <a:cubicBezTo>
                  <a:pt x="1062436" y="33396"/>
                  <a:pt x="1091948" y="52886"/>
                  <a:pt x="1115663" y="77118"/>
                </a:cubicBezTo>
                <a:lnTo>
                  <a:pt x="1139905" y="100822"/>
                </a:lnTo>
                <a:cubicBezTo>
                  <a:pt x="1217375" y="178257"/>
                  <a:pt x="1275345" y="279924"/>
                  <a:pt x="1304330" y="400554"/>
                </a:cubicBezTo>
                <a:cubicBezTo>
                  <a:pt x="1338058" y="521184"/>
                  <a:pt x="1347544" y="641814"/>
                  <a:pt x="1342801" y="767185"/>
                </a:cubicBezTo>
                <a:cubicBezTo>
                  <a:pt x="1338058" y="893083"/>
                  <a:pt x="1313816" y="1013713"/>
                  <a:pt x="1280088" y="1119594"/>
                </a:cubicBezTo>
                <a:cubicBezTo>
                  <a:pt x="1246360" y="1230742"/>
                  <a:pt x="1197876" y="1312918"/>
                  <a:pt x="1139905" y="1370863"/>
                </a:cubicBezTo>
                <a:cubicBezTo>
                  <a:pt x="1106177" y="1404576"/>
                  <a:pt x="1067706" y="1433548"/>
                  <a:pt x="1023965" y="1457780"/>
                </a:cubicBezTo>
                <a:cubicBezTo>
                  <a:pt x="980751" y="1482011"/>
                  <a:pt x="932267" y="1496760"/>
                  <a:pt x="869553" y="1506242"/>
                </a:cubicBezTo>
                <a:cubicBezTo>
                  <a:pt x="864810" y="1510983"/>
                  <a:pt x="840568" y="1515724"/>
                  <a:pt x="787341" y="1525206"/>
                </a:cubicBezTo>
                <a:cubicBezTo>
                  <a:pt x="738857" y="1535215"/>
                  <a:pt x="680887" y="1539955"/>
                  <a:pt x="613430" y="1544696"/>
                </a:cubicBezTo>
                <a:cubicBezTo>
                  <a:pt x="545974" y="1544696"/>
                  <a:pt x="482734" y="1539955"/>
                  <a:pt x="410534" y="1525206"/>
                </a:cubicBezTo>
                <a:cubicBezTo>
                  <a:pt x="343078" y="1510983"/>
                  <a:pt x="289851" y="1482011"/>
                  <a:pt x="241367" y="1438816"/>
                </a:cubicBezTo>
                <a:cubicBezTo>
                  <a:pt x="159154" y="1356640"/>
                  <a:pt x="96441" y="1226001"/>
                  <a:pt x="43214" y="1047427"/>
                </a:cubicBezTo>
                <a:cubicBezTo>
                  <a:pt x="33728" y="975259"/>
                  <a:pt x="18972" y="902565"/>
                  <a:pt x="9486" y="820389"/>
                </a:cubicBezTo>
                <a:cubicBezTo>
                  <a:pt x="4743" y="738213"/>
                  <a:pt x="0" y="656564"/>
                  <a:pt x="0" y="574388"/>
                </a:cubicBezTo>
                <a:cubicBezTo>
                  <a:pt x="4743" y="492212"/>
                  <a:pt x="14229" y="414777"/>
                  <a:pt x="38471" y="342609"/>
                </a:cubicBezTo>
                <a:cubicBezTo>
                  <a:pt x="62713" y="269915"/>
                  <a:pt x="101184" y="207230"/>
                  <a:pt x="154411" y="154026"/>
                </a:cubicBezTo>
                <a:cubicBezTo>
                  <a:pt x="212382" y="96082"/>
                  <a:pt x="280365" y="57627"/>
                  <a:pt x="372063" y="28655"/>
                </a:cubicBezTo>
                <a:cubicBezTo>
                  <a:pt x="437280" y="6926"/>
                  <a:pt x="516133" y="-1173"/>
                  <a:pt x="608399" y="135"/>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5" name="Picture Placeholder 21">
            <a:extLst>
              <a:ext uri="{FF2B5EF4-FFF2-40B4-BE49-F238E27FC236}">
                <a16:creationId xmlns:a16="http://schemas.microsoft.com/office/drawing/2014/main" id="{DE3E66F6-0760-4E86-96ED-C0A86048CC6A}"/>
              </a:ext>
            </a:extLst>
          </p:cNvPr>
          <p:cNvSpPr>
            <a:spLocks noGrp="1"/>
          </p:cNvSpPr>
          <p:nvPr>
            <p:ph type="pic" sz="quarter" idx="13" hasCustomPrompt="1"/>
          </p:nvPr>
        </p:nvSpPr>
        <p:spPr>
          <a:xfrm>
            <a:off x="7009293" y="1746780"/>
            <a:ext cx="1032321" cy="1619482"/>
          </a:xfrm>
          <a:custGeom>
            <a:avLst/>
            <a:gdLst>
              <a:gd name="connsiteX0" fmla="*/ 574479 w 1032321"/>
              <a:gd name="connsiteY0" fmla="*/ 0 h 1619482"/>
              <a:gd name="connsiteX1" fmla="*/ 745081 w 1032321"/>
              <a:gd name="connsiteY1" fmla="*/ 19512 h 1619482"/>
              <a:gd name="connsiteX2" fmla="*/ 888411 w 1032321"/>
              <a:gd name="connsiteY2" fmla="*/ 96504 h 1619482"/>
              <a:gd name="connsiteX3" fmla="*/ 994602 w 1032321"/>
              <a:gd name="connsiteY3" fmla="*/ 251544 h 1619482"/>
              <a:gd name="connsiteX4" fmla="*/ 1032321 w 1032321"/>
              <a:gd name="connsiteY4" fmla="*/ 507307 h 1619482"/>
              <a:gd name="connsiteX5" fmla="*/ 1021295 w 1032321"/>
              <a:gd name="connsiteY5" fmla="*/ 667094 h 1619482"/>
              <a:gd name="connsiteX6" fmla="*/ 994602 w 1032321"/>
              <a:gd name="connsiteY6" fmla="*/ 850610 h 1619482"/>
              <a:gd name="connsiteX7" fmla="*/ 952242 w 1032321"/>
              <a:gd name="connsiteY7" fmla="*/ 1019889 h 1619482"/>
              <a:gd name="connsiteX8" fmla="*/ 904659 w 1032321"/>
              <a:gd name="connsiteY8" fmla="*/ 1208679 h 1619482"/>
              <a:gd name="connsiteX9" fmla="*/ 856495 w 1032321"/>
              <a:gd name="connsiteY9" fmla="*/ 1367937 h 1619482"/>
              <a:gd name="connsiteX10" fmla="*/ 824580 w 1032321"/>
              <a:gd name="connsiteY10" fmla="*/ 1430692 h 1619482"/>
              <a:gd name="connsiteX11" fmla="*/ 394011 w 1032321"/>
              <a:gd name="connsiteY11" fmla="*/ 1619482 h 1619482"/>
              <a:gd name="connsiteX12" fmla="*/ 255324 w 1032321"/>
              <a:gd name="connsiteY12" fmla="*/ 1570966 h 1619482"/>
              <a:gd name="connsiteX13" fmla="*/ 127662 w 1032321"/>
              <a:gd name="connsiteY13" fmla="*/ 1430692 h 1619482"/>
              <a:gd name="connsiteX14" fmla="*/ 37138 w 1032321"/>
              <a:gd name="connsiteY14" fmla="*/ 1184421 h 1619482"/>
              <a:gd name="connsiteX15" fmla="*/ 0 w 1032321"/>
              <a:gd name="connsiteY15" fmla="*/ 836372 h 1619482"/>
              <a:gd name="connsiteX16" fmla="*/ 11025 w 1032321"/>
              <a:gd name="connsiteY16" fmla="*/ 667094 h 1619482"/>
              <a:gd name="connsiteX17" fmla="*/ 37138 w 1032321"/>
              <a:gd name="connsiteY17" fmla="*/ 488323 h 1619482"/>
              <a:gd name="connsiteX18" fmla="*/ 95746 w 1032321"/>
              <a:gd name="connsiteY18" fmla="*/ 236779 h 1619482"/>
              <a:gd name="connsiteX19" fmla="*/ 191493 w 1032321"/>
              <a:gd name="connsiteY19" fmla="*/ 91758 h 1619482"/>
              <a:gd name="connsiteX20" fmla="*/ 340625 w 1032321"/>
              <a:gd name="connsiteY20" fmla="*/ 19512 h 1619482"/>
              <a:gd name="connsiteX21" fmla="*/ 574479 w 1032321"/>
              <a:gd name="connsiteY21" fmla="*/ 0 h 161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2321" h="1619482">
                <a:moveTo>
                  <a:pt x="574479" y="0"/>
                </a:moveTo>
                <a:cubicBezTo>
                  <a:pt x="633087" y="0"/>
                  <a:pt x="686473" y="4746"/>
                  <a:pt x="745081" y="19512"/>
                </a:cubicBezTo>
                <a:cubicBezTo>
                  <a:pt x="797887" y="33750"/>
                  <a:pt x="846050" y="58008"/>
                  <a:pt x="888411" y="96504"/>
                </a:cubicBezTo>
                <a:cubicBezTo>
                  <a:pt x="930771" y="135528"/>
                  <a:pt x="968490" y="183517"/>
                  <a:pt x="994602" y="251544"/>
                </a:cubicBezTo>
                <a:cubicBezTo>
                  <a:pt x="1021295" y="314298"/>
                  <a:pt x="1032321" y="401311"/>
                  <a:pt x="1032321" y="507307"/>
                </a:cubicBezTo>
                <a:cubicBezTo>
                  <a:pt x="1032321" y="555823"/>
                  <a:pt x="1026518" y="609086"/>
                  <a:pt x="1021295" y="667094"/>
                </a:cubicBezTo>
                <a:cubicBezTo>
                  <a:pt x="1016073" y="720356"/>
                  <a:pt x="1005628" y="783110"/>
                  <a:pt x="994602" y="850610"/>
                </a:cubicBezTo>
                <a:cubicBezTo>
                  <a:pt x="984157" y="899126"/>
                  <a:pt x="973712" y="952388"/>
                  <a:pt x="952242" y="1019889"/>
                </a:cubicBezTo>
                <a:cubicBezTo>
                  <a:pt x="936574" y="1087389"/>
                  <a:pt x="920326" y="1150671"/>
                  <a:pt x="904659" y="1208679"/>
                </a:cubicBezTo>
                <a:cubicBezTo>
                  <a:pt x="888411" y="1271433"/>
                  <a:pt x="872743" y="1324695"/>
                  <a:pt x="856495" y="1367937"/>
                </a:cubicBezTo>
                <a:cubicBezTo>
                  <a:pt x="840828" y="1406434"/>
                  <a:pt x="829803" y="1430692"/>
                  <a:pt x="824580" y="1430692"/>
                </a:cubicBezTo>
                <a:cubicBezTo>
                  <a:pt x="659780" y="1556728"/>
                  <a:pt x="515870" y="1619482"/>
                  <a:pt x="394011" y="1619482"/>
                </a:cubicBezTo>
                <a:cubicBezTo>
                  <a:pt x="345848" y="1619482"/>
                  <a:pt x="298265" y="1599970"/>
                  <a:pt x="255324" y="1570966"/>
                </a:cubicBezTo>
                <a:cubicBezTo>
                  <a:pt x="207741" y="1541962"/>
                  <a:pt x="164800" y="1493446"/>
                  <a:pt x="127662" y="1430692"/>
                </a:cubicBezTo>
                <a:cubicBezTo>
                  <a:pt x="90524" y="1363191"/>
                  <a:pt x="63831" y="1285671"/>
                  <a:pt x="37138" y="1184421"/>
                </a:cubicBezTo>
                <a:cubicBezTo>
                  <a:pt x="11025" y="1082643"/>
                  <a:pt x="0" y="966627"/>
                  <a:pt x="0" y="836372"/>
                </a:cubicBezTo>
                <a:cubicBezTo>
                  <a:pt x="0" y="783110"/>
                  <a:pt x="5223" y="729848"/>
                  <a:pt x="11025" y="667094"/>
                </a:cubicBezTo>
                <a:cubicBezTo>
                  <a:pt x="21470" y="604339"/>
                  <a:pt x="31915" y="546331"/>
                  <a:pt x="37138" y="488323"/>
                </a:cubicBezTo>
                <a:cubicBezTo>
                  <a:pt x="53386" y="386545"/>
                  <a:pt x="74856" y="304806"/>
                  <a:pt x="95746" y="236779"/>
                </a:cubicBezTo>
                <a:cubicBezTo>
                  <a:pt x="122439" y="174024"/>
                  <a:pt x="149132" y="125508"/>
                  <a:pt x="191493" y="91758"/>
                </a:cubicBezTo>
                <a:cubicBezTo>
                  <a:pt x="228631" y="53262"/>
                  <a:pt x="282017" y="29004"/>
                  <a:pt x="340625" y="19512"/>
                </a:cubicBezTo>
                <a:cubicBezTo>
                  <a:pt x="404456" y="4746"/>
                  <a:pt x="478732" y="0"/>
                  <a:pt x="574479" y="0"/>
                </a:cubicBezTo>
                <a:close/>
              </a:path>
            </a:pathLst>
          </a:custGeom>
          <a:solidFill>
            <a:schemeClr val="accent5"/>
          </a:solidFill>
        </p:spPr>
        <p:txBody>
          <a:bodyPr wrap="square">
            <a:noAutofit/>
          </a:bodyPr>
          <a:lstStyle>
            <a:lvl1pPr marL="0" indent="0">
              <a:buNone/>
              <a:defRPr/>
            </a:lvl1pPr>
          </a:lstStyle>
          <a:p>
            <a:r>
              <a:rPr lang="en-US" dirty="0"/>
              <a:t> </a:t>
            </a:r>
          </a:p>
        </p:txBody>
      </p:sp>
    </p:spTree>
    <p:extLst>
      <p:ext uri="{BB962C8B-B14F-4D97-AF65-F5344CB8AC3E}">
        <p14:creationId xmlns:p14="http://schemas.microsoft.com/office/powerpoint/2010/main" val="94430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B3DF27-36C2-4D9B-84F8-C86689A14682}"/>
              </a:ext>
            </a:extLst>
          </p:cNvPr>
          <p:cNvGraphicFramePr>
            <a:graphicFrameLocks noChangeAspect="1"/>
          </p:cNvGraphicFramePr>
          <p:nvPr userDrawn="1">
            <p:custDataLst>
              <p:tags r:id="rId2"/>
            </p:custDataLst>
            <p:extLst>
              <p:ext uri="{D42A27DB-BD31-4B8C-83A1-F6EECF244321}">
                <p14:modId xmlns:p14="http://schemas.microsoft.com/office/powerpoint/2010/main" val="194282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BB3DF27-36C2-4D9B-84F8-C86689A146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F660E-9AFA-44CE-B2CE-37E304AD5A30}"/>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Rectangle 11">
            <a:extLst>
              <a:ext uri="{FF2B5EF4-FFF2-40B4-BE49-F238E27FC236}">
                <a16:creationId xmlns:a16="http://schemas.microsoft.com/office/drawing/2014/main" id="{9FC86183-5085-425A-911E-943AA6FE5499}"/>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5" name="Line">
            <a:extLst>
              <a:ext uri="{FF2B5EF4-FFF2-40B4-BE49-F238E27FC236}">
                <a16:creationId xmlns:a16="http://schemas.microsoft.com/office/drawing/2014/main" id="{1D1663C5-C1D6-472D-8743-8D6DBA39342A}"/>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6" name="Freeform 5">
            <a:extLst>
              <a:ext uri="{FF2B5EF4-FFF2-40B4-BE49-F238E27FC236}">
                <a16:creationId xmlns:a16="http://schemas.microsoft.com/office/drawing/2014/main" id="{FC2D397B-AD55-45D0-8481-A6C52AA75720}"/>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7" name="Picture 16">
            <a:extLst>
              <a:ext uri="{FF2B5EF4-FFF2-40B4-BE49-F238E27FC236}">
                <a16:creationId xmlns:a16="http://schemas.microsoft.com/office/drawing/2014/main" id="{974AA219-9D2B-4980-9685-44F3C733EAC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0EBA7BD3-A59B-4F4A-97CB-A8F367B6BA77}"/>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0">
            <a:extLst>
              <a:ext uri="{FF2B5EF4-FFF2-40B4-BE49-F238E27FC236}">
                <a16:creationId xmlns:a16="http://schemas.microsoft.com/office/drawing/2014/main" id="{1AE87AF3-535B-43F7-B50A-CD4F5F51488E}"/>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403104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3B3082-63B6-49AC-A4DA-3B92C37C4D96}"/>
              </a:ext>
            </a:extLst>
          </p:cNvPr>
          <p:cNvGraphicFramePr>
            <a:graphicFrameLocks noChangeAspect="1"/>
          </p:cNvGraphicFramePr>
          <p:nvPr userDrawn="1">
            <p:custDataLst>
              <p:tags r:id="rId2"/>
            </p:custDataLst>
            <p:extLst>
              <p:ext uri="{D42A27DB-BD31-4B8C-83A1-F6EECF244321}">
                <p14:modId xmlns:p14="http://schemas.microsoft.com/office/powerpoint/2010/main" val="264518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193B3082-63B6-49AC-A4DA-3B92C37C4D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F2A08-3AC8-4E48-9E02-37D2C2F57FC3}"/>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1" name="Rectangle 10">
            <a:extLst>
              <a:ext uri="{FF2B5EF4-FFF2-40B4-BE49-F238E27FC236}">
                <a16:creationId xmlns:a16="http://schemas.microsoft.com/office/drawing/2014/main" id="{E8E11EDC-58E1-4672-A08E-831910BE33BB}"/>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3" name="Line">
            <a:extLst>
              <a:ext uri="{FF2B5EF4-FFF2-40B4-BE49-F238E27FC236}">
                <a16:creationId xmlns:a16="http://schemas.microsoft.com/office/drawing/2014/main" id="{574963F6-CA33-4700-B662-499262FF116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5" name="Freeform 5">
            <a:extLst>
              <a:ext uri="{FF2B5EF4-FFF2-40B4-BE49-F238E27FC236}">
                <a16:creationId xmlns:a16="http://schemas.microsoft.com/office/drawing/2014/main" id="{D8E74303-01FC-4276-8B48-C26DAC857637}"/>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6" name="Picture 15">
            <a:extLst>
              <a:ext uri="{FF2B5EF4-FFF2-40B4-BE49-F238E27FC236}">
                <a16:creationId xmlns:a16="http://schemas.microsoft.com/office/drawing/2014/main" id="{4549A7DB-8DD0-491E-8951-3E64FB0BD13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8" name="Straight Connector 17">
            <a:extLst>
              <a:ext uri="{FF2B5EF4-FFF2-40B4-BE49-F238E27FC236}">
                <a16:creationId xmlns:a16="http://schemas.microsoft.com/office/drawing/2014/main" id="{9F388B5E-DEE9-4350-A0E9-125507DBB086}"/>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18EEDD0-F86C-4DFD-B097-37AFB119D589}"/>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72888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F1FB9A-7E9E-4B8E-AD61-D4C33D07B8E7}"/>
              </a:ext>
            </a:extLst>
          </p:cNvPr>
          <p:cNvGraphicFramePr>
            <a:graphicFrameLocks noChangeAspect="1"/>
          </p:cNvGraphicFramePr>
          <p:nvPr userDrawn="1">
            <p:custDataLst>
              <p:tags r:id="rId2"/>
            </p:custDataLst>
            <p:extLst>
              <p:ext uri="{D42A27DB-BD31-4B8C-83A1-F6EECF244321}">
                <p14:modId xmlns:p14="http://schemas.microsoft.com/office/powerpoint/2010/main" val="3418301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4BF1FB9A-7E9E-4B8E-AD61-D4C33D07B8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0E0FE5-0617-4F10-89A2-024332642BD0}"/>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384048" y="283465"/>
            <a:ext cx="7498080" cy="430887"/>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dirty="0"/>
              <a:t>Footer in sentence case</a:t>
            </a:r>
          </a:p>
        </p:txBody>
      </p:sp>
      <p:sp>
        <p:nvSpPr>
          <p:cNvPr id="13" name="Rectangle 12">
            <a:extLst>
              <a:ext uri="{FF2B5EF4-FFF2-40B4-BE49-F238E27FC236}">
                <a16:creationId xmlns:a16="http://schemas.microsoft.com/office/drawing/2014/main" id="{6433E115-558B-4376-92F0-9EDAF1E8354D}"/>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5" name="Line">
            <a:extLst>
              <a:ext uri="{FF2B5EF4-FFF2-40B4-BE49-F238E27FC236}">
                <a16:creationId xmlns:a16="http://schemas.microsoft.com/office/drawing/2014/main" id="{FB3FE334-5074-47F9-B243-67045BF74272}"/>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6" name="Freeform 5">
            <a:extLst>
              <a:ext uri="{FF2B5EF4-FFF2-40B4-BE49-F238E27FC236}">
                <a16:creationId xmlns:a16="http://schemas.microsoft.com/office/drawing/2014/main" id="{C6D6A0DC-28FF-47AF-A39A-423A1ABE2974}"/>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8" name="Picture 17">
            <a:extLst>
              <a:ext uri="{FF2B5EF4-FFF2-40B4-BE49-F238E27FC236}">
                <a16:creationId xmlns:a16="http://schemas.microsoft.com/office/drawing/2014/main" id="{C397DF90-7917-4C1C-8D0A-4C82FFADD6F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19" name="Straight Connector 18">
            <a:extLst>
              <a:ext uri="{FF2B5EF4-FFF2-40B4-BE49-F238E27FC236}">
                <a16:creationId xmlns:a16="http://schemas.microsoft.com/office/drawing/2014/main" id="{796D56C9-E95D-4B24-8602-BC23EC6DAF45}"/>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0F26186F-7395-49A9-9A17-6E276310FAE5}"/>
              </a:ext>
            </a:extLst>
          </p:cNvPr>
          <p:cNvSpPr>
            <a:spLocks noGrp="1"/>
          </p:cNvSpPr>
          <p:nvPr>
            <p:ph type="body" sz="quarter" idx="12" hasCustomPrompt="1"/>
          </p:nvPr>
        </p:nvSpPr>
        <p:spPr>
          <a:xfrm>
            <a:off x="384048" y="688180"/>
            <a:ext cx="7498080" cy="274691"/>
          </a:xfrm>
        </p:spPr>
        <p:txBody>
          <a:bodyPr/>
          <a:lstStyle>
            <a:lvl1pPr>
              <a:defRPr sz="1800"/>
            </a:lvl1pPr>
            <a:lvl4pPr>
              <a:defRPr/>
            </a:lvl4pPr>
          </a:lstStyle>
          <a:p>
            <a:pPr lvl="0"/>
            <a:r>
              <a:rPr lang="en-US" dirty="0"/>
              <a:t>Subtitle in sentence case, 18-pt</a:t>
            </a:r>
          </a:p>
        </p:txBody>
      </p:sp>
    </p:spTree>
    <p:extLst>
      <p:ext uri="{BB962C8B-B14F-4D97-AF65-F5344CB8AC3E}">
        <p14:creationId xmlns:p14="http://schemas.microsoft.com/office/powerpoint/2010/main" val="278167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549199-4725-4C68-A6B9-802220D70100}"/>
              </a:ext>
            </a:extLst>
          </p:cNvPr>
          <p:cNvGraphicFramePr>
            <a:graphicFrameLocks noChangeAspect="1"/>
          </p:cNvGraphicFramePr>
          <p:nvPr userDrawn="1">
            <p:custDataLst>
              <p:tags r:id="rId2"/>
            </p:custDataLst>
            <p:extLst>
              <p:ext uri="{D42A27DB-BD31-4B8C-83A1-F6EECF244321}">
                <p14:modId xmlns:p14="http://schemas.microsoft.com/office/powerpoint/2010/main" val="384147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83" imgH="384" progId="TCLayout.ActiveDocument.1">
                  <p:embed/>
                </p:oleObj>
              </mc:Choice>
              <mc:Fallback>
                <p:oleObj name="think-cell Slide" r:id="rId5" imgW="383" imgH="384" progId="TCLayout.ActiveDocument.1">
                  <p:embed/>
                  <p:pic>
                    <p:nvPicPr>
                      <p:cNvPr id="3" name="Object 2" hidden="1">
                        <a:extLst>
                          <a:ext uri="{FF2B5EF4-FFF2-40B4-BE49-F238E27FC236}">
                            <a16:creationId xmlns:a16="http://schemas.microsoft.com/office/drawing/2014/main" id="{44549199-4725-4C68-A6B9-802220D701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4E64FF-B638-4E85-B1B4-9B1855945CEC}"/>
              </a:ext>
            </a:extLst>
          </p:cNvPr>
          <p:cNvSpPr/>
          <p:nvPr userDrawn="1">
            <p:custDataLst>
              <p:tags r:id="rId3"/>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384047"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4136771" y="1154134"/>
            <a:ext cx="0" cy="398936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453128" y="1435607"/>
            <a:ext cx="3429000" cy="3200400"/>
          </a:xfrm>
        </p:spPr>
        <p:txBody>
          <a:bodyPr>
            <a:noAutofit/>
          </a:bodyPr>
          <a:lstStyle>
            <a:lvl1pPr>
              <a:lnSpc>
                <a:spcPct val="100000"/>
              </a:lnSpc>
              <a:spcBef>
                <a:spcPts val="600"/>
              </a:spcBef>
              <a:spcAft>
                <a:spcPts val="1200"/>
              </a:spcAft>
              <a:defRPr/>
            </a:lvl1pPr>
            <a:lvl2pPr>
              <a:lnSpc>
                <a:spcPct val="100000"/>
              </a:lnSpc>
              <a:defRPr/>
            </a:lvl2pPr>
            <a:lvl3pPr>
              <a:lnSpc>
                <a:spcPct val="100000"/>
              </a:lnSpc>
              <a:defRPr/>
            </a:lvl3pPr>
            <a:lvl4pPr marL="342892" indent="-114297">
              <a:lnSpc>
                <a:spcPct val="100000"/>
              </a:lnSpc>
              <a:spcBef>
                <a:spcPts val="0"/>
              </a:spcBef>
              <a:spcAft>
                <a:spcPts val="600"/>
              </a:spcAft>
              <a:buClr>
                <a:schemeClr val="accent1"/>
              </a:buClr>
              <a:buFont typeface="Arial" panose="020B0604020202020204" pitchFamily="34" charset="0"/>
              <a:buChar char="•"/>
              <a:defRPr sz="1200"/>
            </a:lvl4pPr>
            <a:lvl5pPr marL="457189" indent="-114297">
              <a:lnSpc>
                <a:spcPct val="100000"/>
              </a:lnSpc>
              <a:spcBef>
                <a:spcPts val="0"/>
              </a:spcBef>
              <a:spcAft>
                <a:spcPts val="600"/>
              </a:spcAft>
              <a:buClr>
                <a:schemeClr val="accent1"/>
              </a:buClr>
              <a:buFont typeface="Taub Sans" pitchFamily="2"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B3DF8C12-C3CF-4EF2-98A2-57A2A5AF581C}"/>
              </a:ext>
            </a:extLst>
          </p:cNvPr>
          <p:cNvSpPr/>
          <p:nvPr userDrawn="1"/>
        </p:nvSpPr>
        <p:spPr>
          <a:xfrm>
            <a:off x="8161101" y="1154131"/>
            <a:ext cx="982899" cy="398937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21918" tIns="121918" rIns="121918" bIns="121918" numCol="1" spcCol="38100" rtlCol="0" fromWordArt="0" anchor="ctr" anchorCtr="0" forceAA="0" compatLnSpc="1">
            <a:prstTxWarp prst="textNoShape">
              <a:avLst/>
            </a:prstTxWarp>
            <a:noAutofit/>
          </a:bodyPr>
          <a:lstStyle/>
          <a:p>
            <a:pPr marR="0" lvl="0" indent="0" defTabSz="1219169" fontAlgn="auto" hangingPunct="0">
              <a:lnSpc>
                <a:spcPct val="100000"/>
              </a:lnSpc>
              <a:spcBef>
                <a:spcPts val="0"/>
              </a:spcBef>
              <a:spcAft>
                <a:spcPts val="0"/>
              </a:spcAft>
              <a:buClrTx/>
              <a:buSzTx/>
              <a:buFontTx/>
              <a:buNone/>
              <a:tabLst/>
            </a:pPr>
            <a:endParaRPr kumimoji="0" lang="en-US" sz="1200" b="0" i="0" u="none" strike="noStrike" cap="none" spc="0" normalizeH="0" baseline="0" dirty="0">
              <a:ln>
                <a:noFill/>
              </a:ln>
              <a:solidFill>
                <a:schemeClr val="bg2"/>
              </a:solidFill>
              <a:effectLst/>
              <a:uFillTx/>
              <a:latin typeface="Taub Sans" pitchFamily="2" charset="77"/>
              <a:ea typeface="Taub Sans" pitchFamily="2" charset="77"/>
            </a:endParaRPr>
          </a:p>
        </p:txBody>
      </p:sp>
      <p:sp>
        <p:nvSpPr>
          <p:cNvPr id="17" name="Line">
            <a:extLst>
              <a:ext uri="{FF2B5EF4-FFF2-40B4-BE49-F238E27FC236}">
                <a16:creationId xmlns:a16="http://schemas.microsoft.com/office/drawing/2014/main" id="{87A2E62B-27CE-4C72-97CC-B51354D9F291}"/>
              </a:ext>
            </a:extLst>
          </p:cNvPr>
          <p:cNvSpPr/>
          <p:nvPr userDrawn="1"/>
        </p:nvSpPr>
        <p:spPr>
          <a:xfrm flipH="1" flipV="1">
            <a:off x="8161103" y="3900"/>
            <a:ext cx="0" cy="5135707"/>
          </a:xfrm>
          <a:prstGeom prst="line">
            <a:avLst/>
          </a:prstGeom>
          <a:ln w="6350">
            <a:solidFill>
              <a:schemeClr val="accent1">
                <a:alpha val="50000"/>
              </a:schemeClr>
            </a:solidFill>
          </a:ln>
        </p:spPr>
        <p:txBody>
          <a:bodyPr lIns="17145" rIns="17145"/>
          <a:lstStyle/>
          <a:p>
            <a:pPr>
              <a:defRPr sz="6000" spc="-180">
                <a:latin typeface="Taub Sans"/>
                <a:ea typeface="Taub Sans"/>
                <a:cs typeface="Taub Sans"/>
                <a:sym typeface="Taub Sans"/>
              </a:defRPr>
            </a:pPr>
            <a:endParaRPr sz="2250" dirty="0"/>
          </a:p>
        </p:txBody>
      </p:sp>
      <p:sp>
        <p:nvSpPr>
          <p:cNvPr id="18" name="Freeform 5">
            <a:extLst>
              <a:ext uri="{FF2B5EF4-FFF2-40B4-BE49-F238E27FC236}">
                <a16:creationId xmlns:a16="http://schemas.microsoft.com/office/drawing/2014/main" id="{19E00001-6DC8-4976-8B1E-C2B0E39E0DC8}"/>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pic>
        <p:nvPicPr>
          <p:cNvPr id="19" name="Picture 18">
            <a:extLst>
              <a:ext uri="{FF2B5EF4-FFF2-40B4-BE49-F238E27FC236}">
                <a16:creationId xmlns:a16="http://schemas.microsoft.com/office/drawing/2014/main" id="{0E6806E0-E65E-49C8-9C39-A08C1593F3B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8161101" y="3"/>
            <a:ext cx="982899" cy="1066747"/>
          </a:xfrm>
          <a:prstGeom prst="rect">
            <a:avLst/>
          </a:prstGeom>
        </p:spPr>
      </p:pic>
      <p:cxnSp>
        <p:nvCxnSpPr>
          <p:cNvPr id="20" name="Straight Connector 19">
            <a:extLst>
              <a:ext uri="{FF2B5EF4-FFF2-40B4-BE49-F238E27FC236}">
                <a16:creationId xmlns:a16="http://schemas.microsoft.com/office/drawing/2014/main" id="{F5846481-DDF2-4FEE-B6E8-839315B8C7D5}"/>
              </a:ext>
            </a:extLst>
          </p:cNvPr>
          <p:cNvCxnSpPr>
            <a:cxnSpLocks/>
          </p:cNvCxnSpPr>
          <p:nvPr userDrawn="1"/>
        </p:nvCxnSpPr>
        <p:spPr>
          <a:xfrm>
            <a:off x="0" y="1154130"/>
            <a:ext cx="9144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DD3716BA-02BF-4706-BFF5-D3CFCAD74D6C}"/>
              </a:ext>
            </a:extLst>
          </p:cNvPr>
          <p:cNvSpPr>
            <a:spLocks noGrp="1"/>
          </p:cNvSpPr>
          <p:nvPr>
            <p:ph type="title" hasCustomPrompt="1"/>
          </p:nvPr>
        </p:nvSpPr>
        <p:spPr>
          <a:xfrm>
            <a:off x="384048" y="394348"/>
            <a:ext cx="7498080" cy="430887"/>
          </a:xfrm>
        </p:spPr>
        <p:txBody>
          <a:bodyPr/>
          <a:lstStyle>
            <a:lvl1pPr>
              <a:defRPr/>
            </a:lvl1pPr>
          </a:lstStyle>
          <a:p>
            <a:r>
              <a:rPr lang="en-US"/>
              <a:t>Headline in sentence case, 28-pt</a:t>
            </a:r>
            <a:endParaRPr lang="en-US" dirty="0"/>
          </a:p>
        </p:txBody>
      </p:sp>
    </p:spTree>
    <p:extLst>
      <p:ext uri="{BB962C8B-B14F-4D97-AF65-F5344CB8AC3E}">
        <p14:creationId xmlns:p14="http://schemas.microsoft.com/office/powerpoint/2010/main" val="310335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vmlDrawing" Target="../drawings/vmlDrawing14.vml"/><Relationship Id="rId3" Type="http://schemas.openxmlformats.org/officeDocument/2006/relationships/slideLayout" Target="../slideLayouts/slideLayout21.xml"/><Relationship Id="rId21" Type="http://schemas.openxmlformats.org/officeDocument/2006/relationships/oleObject" Target="../embeddings/oleObject13.bin"/><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29.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vmlDrawing" Target="../drawings/vmlDrawing25.vml"/><Relationship Id="rId3" Type="http://schemas.openxmlformats.org/officeDocument/2006/relationships/slideLayout" Target="../slideLayouts/slideLayout37.xml"/><Relationship Id="rId21" Type="http://schemas.openxmlformats.org/officeDocument/2006/relationships/oleObject" Target="../embeddings/oleObject24.bin"/><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heme" Target="../theme/theme3.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ags" Target="../tags/tag51.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ags" Target="../tags/tag50.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slideLayout" Target="../slideLayouts/slideLayout53.xml"/><Relationship Id="rId7" Type="http://schemas.openxmlformats.org/officeDocument/2006/relationships/tags" Target="../tags/tag7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vmlDrawing" Target="../drawings/vmlDrawing37.vml"/><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54.xml"/><Relationship Id="rId9" Type="http://schemas.openxmlformats.org/officeDocument/2006/relationships/oleObject" Target="../embeddings/oleObject3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330CC2-21BD-47EE-97AD-9D408F3D77E9}"/>
              </a:ext>
            </a:extLst>
          </p:cNvPr>
          <p:cNvGraphicFramePr>
            <a:graphicFrameLocks noChangeAspect="1"/>
          </p:cNvGraphicFramePr>
          <p:nvPr userDrawn="1">
            <p:custDataLst>
              <p:tags r:id="rId21"/>
            </p:custDataLst>
            <p:extLst>
              <p:ext uri="{D42A27DB-BD31-4B8C-83A1-F6EECF244321}">
                <p14:modId xmlns:p14="http://schemas.microsoft.com/office/powerpoint/2010/main" val="4086507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3" imgW="383" imgH="384" progId="TCLayout.ActiveDocument.1">
                  <p:embed/>
                </p:oleObj>
              </mc:Choice>
              <mc:Fallback>
                <p:oleObj name="think-cell Slide" r:id="rId23" imgW="383" imgH="384" progId="TCLayout.ActiveDocument.1">
                  <p:embed/>
                  <p:pic>
                    <p:nvPicPr>
                      <p:cNvPr id="7" name="Object 6" hidden="1">
                        <a:extLst>
                          <a:ext uri="{FF2B5EF4-FFF2-40B4-BE49-F238E27FC236}">
                            <a16:creationId xmlns:a16="http://schemas.microsoft.com/office/drawing/2014/main" id="{D1330CC2-21BD-47EE-97AD-9D408F3D77E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5CC7DE1-B2DB-4E82-8A04-54C9E58CFCBB}"/>
              </a:ext>
            </a:extLst>
          </p:cNvPr>
          <p:cNvSpPr/>
          <p:nvPr userDrawn="1">
            <p:custDataLst>
              <p:tags r:id="rId22"/>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784830"/>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600" dirty="0">
                <a:solidFill>
                  <a:schemeClr val="tx1"/>
                </a:solidFill>
                <a:latin typeface="+mn-lt"/>
              </a:rPr>
              <a:t>Copyright © 20</a:t>
            </a:r>
            <a:r>
              <a:rPr lang="es-ES" sz="600" dirty="0">
                <a:solidFill>
                  <a:schemeClr val="tx1"/>
                </a:solidFill>
                <a:latin typeface="+mn-lt"/>
              </a:rPr>
              <a:t>20</a:t>
            </a:r>
            <a:r>
              <a:rPr sz="600" dirty="0">
                <a:solidFill>
                  <a:schemeClr val="tx1"/>
                </a:solidFill>
                <a:latin typeface="+mn-lt"/>
              </a:rPr>
              <a:t>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208385855"/>
      </p:ext>
    </p:extLst>
  </p:cSld>
  <p:clrMap bg1="lt1" tx1="dk1" bg2="lt2" tx2="dk2" accent1="accent1" accent2="accent2" accent3="accent3" accent4="accent4" accent5="accent5" accent6="accent6" hlink="hlink" folHlink="folHlink"/>
  <p:sldLayoutIdLst>
    <p:sldLayoutId id="2147483750" r:id="rId1"/>
    <p:sldLayoutId id="2147483752" r:id="rId2"/>
    <p:sldLayoutId id="2147483753" r:id="rId3"/>
    <p:sldLayoutId id="2147483754" r:id="rId4"/>
    <p:sldLayoutId id="2147483767" r:id="rId5"/>
    <p:sldLayoutId id="2147483756" r:id="rId6"/>
    <p:sldLayoutId id="2147483768" r:id="rId7"/>
    <p:sldLayoutId id="2147483757" r:id="rId8"/>
    <p:sldLayoutId id="2147483783" r:id="rId9"/>
    <p:sldLayoutId id="2147483758" r:id="rId10"/>
    <p:sldLayoutId id="2147483784" r:id="rId11"/>
    <p:sldLayoutId id="2147483790" r:id="rId12"/>
    <p:sldLayoutId id="2147483804" r:id="rId13"/>
    <p:sldLayoutId id="2147483759" r:id="rId14"/>
    <p:sldLayoutId id="2147483760" r:id="rId15"/>
    <p:sldLayoutId id="2147483782" r:id="rId16"/>
    <p:sldLayoutId id="2147483764" r:id="rId17"/>
    <p:sldLayoutId id="2147483791"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E9B50D-2826-43C7-8DCE-F9746F085512}"/>
              </a:ext>
            </a:extLst>
          </p:cNvPr>
          <p:cNvGraphicFramePr>
            <a:graphicFrameLocks noChangeAspect="1"/>
          </p:cNvGraphicFramePr>
          <p:nvPr userDrawn="1">
            <p:custDataLst>
              <p:tags r:id="rId19"/>
            </p:custDataLst>
            <p:extLst>
              <p:ext uri="{D42A27DB-BD31-4B8C-83A1-F6EECF244321}">
                <p14:modId xmlns:p14="http://schemas.microsoft.com/office/powerpoint/2010/main" val="2121177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9DE9B50D-2826-43C7-8DCE-F9746F08551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61D8EA-BA9F-4A20-98EB-1CFEC3B149E3}"/>
              </a:ext>
            </a:extLst>
          </p:cNvPr>
          <p:cNvSpPr/>
          <p:nvPr userDrawn="1">
            <p:custDataLst>
              <p:tags r:id="rId20"/>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784830"/>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600" dirty="0">
                <a:solidFill>
                  <a:schemeClr val="tx1"/>
                </a:solidFill>
                <a:latin typeface="+mn-lt"/>
              </a:rPr>
              <a:t>Copyright © 2020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192955769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69" r:id="rId6"/>
    <p:sldLayoutId id="2147483723" r:id="rId7"/>
    <p:sldLayoutId id="2147483770" r:id="rId8"/>
    <p:sldLayoutId id="2147483724" r:id="rId9"/>
    <p:sldLayoutId id="2147483779" r:id="rId10"/>
    <p:sldLayoutId id="2147483725" r:id="rId11"/>
    <p:sldLayoutId id="2147483780" r:id="rId12"/>
    <p:sldLayoutId id="2147483726" r:id="rId13"/>
    <p:sldLayoutId id="2147483727" r:id="rId14"/>
    <p:sldLayoutId id="2147483778" r:id="rId15"/>
    <p:sldLayoutId id="214748373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7FC836-B69D-4A61-B981-F0C32CD58719}"/>
              </a:ext>
            </a:extLst>
          </p:cNvPr>
          <p:cNvGraphicFramePr>
            <a:graphicFrameLocks noChangeAspect="1"/>
          </p:cNvGraphicFramePr>
          <p:nvPr userDrawn="1">
            <p:custDataLst>
              <p:tags r:id="rId19"/>
            </p:custDataLst>
            <p:extLst>
              <p:ext uri="{D42A27DB-BD31-4B8C-83A1-F6EECF244321}">
                <p14:modId xmlns:p14="http://schemas.microsoft.com/office/powerpoint/2010/main" val="1943659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DF7FC836-B69D-4A61-B981-F0C32CD5871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EC57E2C-3033-475D-9D8A-DE85ED60E66B}"/>
              </a:ext>
            </a:extLst>
          </p:cNvPr>
          <p:cNvSpPr/>
          <p:nvPr userDrawn="1">
            <p:custDataLst>
              <p:tags r:id="rId20"/>
            </p:custDataLst>
          </p:nvPr>
        </p:nvSpPr>
        <p:spPr>
          <a:xfrm>
            <a:off x="0" y="0"/>
            <a:ext cx="158750" cy="15875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200"/>
              </a:spcAft>
            </a:pPr>
            <a:endParaRPr lang="en-US" sz="2800" b="0" i="0" baseline="0" dirty="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784830"/>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600" dirty="0">
                <a:solidFill>
                  <a:schemeClr val="tx1"/>
                </a:solidFill>
                <a:latin typeface="+mn-lt"/>
              </a:rPr>
              <a:t>Copyright © 2020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339205313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71" r:id="rId6"/>
    <p:sldLayoutId id="2147483740" r:id="rId7"/>
    <p:sldLayoutId id="2147483772" r:id="rId8"/>
    <p:sldLayoutId id="2147483741" r:id="rId9"/>
    <p:sldLayoutId id="2147483773" r:id="rId10"/>
    <p:sldLayoutId id="2147483742" r:id="rId11"/>
    <p:sldLayoutId id="2147483774" r:id="rId12"/>
    <p:sldLayoutId id="2147483743" r:id="rId13"/>
    <p:sldLayoutId id="2147483744" r:id="rId14"/>
    <p:sldLayoutId id="2147483776" r:id="rId15"/>
    <p:sldLayoutId id="2147483748"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100000"/>
        </a:lnSpc>
        <a:spcBef>
          <a:spcPct val="0"/>
        </a:spcBef>
        <a:buNone/>
        <a:defRPr sz="2800" kern="1200">
          <a:solidFill>
            <a:schemeClr val="accent1"/>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guide id="7" orient="horz" pos="90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4AF2FC-7D0F-4335-B5BD-6D710E3079CD}"/>
              </a:ext>
            </a:extLst>
          </p:cNvPr>
          <p:cNvGraphicFramePr>
            <a:graphicFrameLocks noChangeAspect="1"/>
          </p:cNvGraphicFramePr>
          <p:nvPr userDrawn="1">
            <p:custDataLst>
              <p:tags r:id="rId7"/>
            </p:custDataLst>
            <p:extLst>
              <p:ext uri="{D42A27DB-BD31-4B8C-83A1-F6EECF244321}">
                <p14:modId xmlns:p14="http://schemas.microsoft.com/office/powerpoint/2010/main" val="3131988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9" imgW="383" imgH="384" progId="TCLayout.ActiveDocument.1">
                  <p:embed/>
                </p:oleObj>
              </mc:Choice>
              <mc:Fallback>
                <p:oleObj name="think-cell Slide" r:id="rId9" imgW="383" imgH="384" progId="TCLayout.ActiveDocument.1">
                  <p:embed/>
                  <p:pic>
                    <p:nvPicPr>
                      <p:cNvPr id="7" name="Object 6" hidden="1">
                        <a:extLst>
                          <a:ext uri="{FF2B5EF4-FFF2-40B4-BE49-F238E27FC236}">
                            <a16:creationId xmlns:a16="http://schemas.microsoft.com/office/drawing/2014/main" id="{014AF2FC-7D0F-4335-B5BD-6D710E3079C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8303BFB-EE2E-4827-BF2A-DB43BA4B51DA}"/>
              </a:ext>
            </a:extLst>
          </p:cNvPr>
          <p:cNvSpPr/>
          <p:nvPr userDrawn="1">
            <p:custDataLst>
              <p:tags r:id="rId8"/>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384048" y="283465"/>
            <a:ext cx="8378952" cy="430887"/>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384048" y="1052829"/>
            <a:ext cx="8378952" cy="784830"/>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2601265" y="4889146"/>
            <a:ext cx="472091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7735035" y="4889146"/>
            <a:ext cx="117020" cy="123111"/>
          </a:xfrm>
          <a:prstGeom prst="rect">
            <a:avLst/>
          </a:prstGeom>
        </p:spPr>
        <p:txBody>
          <a:bodyPr vert="horz" wrap="none" lIns="0" tIns="0" rIns="0" bIns="0" rtlCol="0" anchor="ctr">
            <a:spAutoFit/>
          </a:bodyPr>
          <a:lstStyle>
            <a:lvl1pPr algn="ctr">
              <a:defRPr sz="800">
                <a:solidFill>
                  <a:schemeClr val="tx1"/>
                </a:solidFill>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384049" y="4919561"/>
            <a:ext cx="1817805" cy="923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600" dirty="0">
                <a:solidFill>
                  <a:schemeClr val="tx1"/>
                </a:solidFill>
                <a:latin typeface="+mn-lt"/>
              </a:rPr>
              <a:t>Copyright © 2020 ADP, LLC. Proprietary and Confidential.</a:t>
            </a: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8461055" y="4886344"/>
            <a:ext cx="346075" cy="157163"/>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Tree>
    <p:extLst>
      <p:ext uri="{BB962C8B-B14F-4D97-AF65-F5344CB8AC3E}">
        <p14:creationId xmlns:p14="http://schemas.microsoft.com/office/powerpoint/2010/main" val="292032729"/>
      </p:ext>
    </p:extLst>
  </p:cSld>
  <p:clrMap bg1="lt1" tx1="dk1" bg2="lt2" tx2="dk2" accent1="accent1" accent2="accent2" accent3="accent3" accent4="accent4" accent5="accent5" accent6="accent6" hlink="hlink" folHlink="folHlink"/>
  <p:sldLayoutIdLst>
    <p:sldLayoutId id="2147483714" r:id="rId1"/>
    <p:sldLayoutId id="2147483789" r:id="rId2"/>
    <p:sldLayoutId id="2147483695" r:id="rId3"/>
    <p:sldLayoutId id="2147483715"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783" rtl="0" eaLnBrk="1" latinLnBrk="0" hangingPunct="1">
        <a:lnSpc>
          <a:spcPct val="100000"/>
        </a:lnSpc>
        <a:spcBef>
          <a:spcPct val="0"/>
        </a:spcBef>
        <a:buNone/>
        <a:defRPr sz="2800" kern="1200">
          <a:solidFill>
            <a:schemeClr val="accent5"/>
          </a:solidFill>
          <a:latin typeface="+mj-lt"/>
          <a:ea typeface="+mj-ea"/>
          <a:cs typeface="+mj-cs"/>
        </a:defRPr>
      </a:lvl1pPr>
    </p:titleStyle>
    <p:body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A4A3A4"/>
          </p15:clr>
        </p15:guide>
        <p15:guide id="2" orient="horz" pos="1620" userDrawn="1">
          <p15:clr>
            <a:srgbClr val="A4A3A4"/>
          </p15:clr>
        </p15:guide>
        <p15:guide id="3" pos="240" userDrawn="1">
          <p15:clr>
            <a:srgbClr val="A4A3A4"/>
          </p15:clr>
        </p15:guide>
        <p15:guide id="4" pos="5520" userDrawn="1">
          <p15:clr>
            <a:srgbClr val="A4A3A4"/>
          </p15:clr>
        </p15:guide>
        <p15:guide id="5" orient="horz" pos="324" userDrawn="1">
          <p15:clr>
            <a:srgbClr val="A4A3A4"/>
          </p15:clr>
        </p15:guide>
        <p15:guide id="6" orient="horz" pos="3024"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6.xml"/><Relationship Id="rId5" Type="http://schemas.openxmlformats.org/officeDocument/2006/relationships/image" Target="../media/image21.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6.xml"/><Relationship Id="rId5" Type="http://schemas.openxmlformats.org/officeDocument/2006/relationships/image" Target="../media/image15.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6.xml"/><Relationship Id="rId5" Type="http://schemas.openxmlformats.org/officeDocument/2006/relationships/image" Target="../media/image25.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1C339645-0C15-45C9-B4B8-A438E5A2FE6C}"/>
              </a:ext>
            </a:extLst>
          </p:cNvPr>
          <p:cNvGrpSpPr/>
          <p:nvPr/>
        </p:nvGrpSpPr>
        <p:grpSpPr>
          <a:xfrm>
            <a:off x="0" y="834213"/>
            <a:ext cx="9144000" cy="4309289"/>
            <a:chOff x="0" y="834213"/>
            <a:chExt cx="9144000" cy="4309289"/>
          </a:xfrm>
        </p:grpSpPr>
        <p:sp>
          <p:nvSpPr>
            <p:cNvPr id="8" name="Rechteck 7">
              <a:extLst>
                <a:ext uri="{FF2B5EF4-FFF2-40B4-BE49-F238E27FC236}">
                  <a16:creationId xmlns:a16="http://schemas.microsoft.com/office/drawing/2014/main" id="{0BFF6297-7023-455E-93EB-744BB58AEDCA}"/>
                </a:ext>
              </a:extLst>
            </p:cNvPr>
            <p:cNvSpPr/>
            <p:nvPr/>
          </p:nvSpPr>
          <p:spPr>
            <a:xfrm>
              <a:off x="0" y="834213"/>
              <a:ext cx="5013064" cy="4309288"/>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sp>
          <p:nvSpPr>
            <p:cNvPr id="9" name="Rechteck 8">
              <a:extLst>
                <a:ext uri="{FF2B5EF4-FFF2-40B4-BE49-F238E27FC236}">
                  <a16:creationId xmlns:a16="http://schemas.microsoft.com/office/drawing/2014/main" id="{85D1E797-80EF-4205-80F0-9B5BBC880B96}"/>
                </a:ext>
              </a:extLst>
            </p:cNvPr>
            <p:cNvSpPr/>
            <p:nvPr/>
          </p:nvSpPr>
          <p:spPr>
            <a:xfrm>
              <a:off x="5013064" y="3467772"/>
              <a:ext cx="4130936" cy="167573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grpSp>
      <p:sp>
        <p:nvSpPr>
          <p:cNvPr id="6" name="Textplatzhalter 5">
            <a:extLst>
              <a:ext uri="{FF2B5EF4-FFF2-40B4-BE49-F238E27FC236}">
                <a16:creationId xmlns:a16="http://schemas.microsoft.com/office/drawing/2014/main" id="{C5ABADC5-E32C-4C3F-83C1-51A59A77E48E}"/>
              </a:ext>
            </a:extLst>
          </p:cNvPr>
          <p:cNvSpPr>
            <a:spLocks noGrp="1"/>
          </p:cNvSpPr>
          <p:nvPr>
            <p:ph type="body" sz="quarter" idx="10"/>
          </p:nvPr>
        </p:nvSpPr>
        <p:spPr>
          <a:xfrm>
            <a:off x="384047" y="1133856"/>
            <a:ext cx="4489167" cy="2831544"/>
          </a:xfrm>
        </p:spPr>
        <p:txBody>
          <a:bodyPr/>
          <a:lstStyle/>
          <a:p>
            <a:r>
              <a:rPr lang="de-DE" sz="3200" dirty="0"/>
              <a:t>HR Challenges of International Expansion</a:t>
            </a:r>
          </a:p>
          <a:p>
            <a:r>
              <a:rPr lang="de-DE" sz="3200" dirty="0"/>
              <a:t>Facts &amp; Figures from the latest Economist Research</a:t>
            </a:r>
          </a:p>
        </p:txBody>
      </p:sp>
      <p:sp>
        <p:nvSpPr>
          <p:cNvPr id="7" name="Textplatzhalter 5">
            <a:extLst>
              <a:ext uri="{FF2B5EF4-FFF2-40B4-BE49-F238E27FC236}">
                <a16:creationId xmlns:a16="http://schemas.microsoft.com/office/drawing/2014/main" id="{5F4E7973-A1A7-43F6-A793-EC670B1511D1}"/>
              </a:ext>
            </a:extLst>
          </p:cNvPr>
          <p:cNvSpPr txBox="1">
            <a:spLocks/>
          </p:cNvSpPr>
          <p:nvPr/>
        </p:nvSpPr>
        <p:spPr>
          <a:xfrm>
            <a:off x="384046" y="4547516"/>
            <a:ext cx="4136333" cy="193899"/>
          </a:xfrm>
          <a:prstGeom prst="rect">
            <a:avLst/>
          </a:prstGeom>
        </p:spPr>
        <p:txBody>
          <a:bodyPr vert="horz" wrap="square" lIns="0" tIns="0" rIns="0" bIns="0" rtlCol="0">
            <a:spAutoFit/>
          </a:bodyPr>
          <a:lstStyle>
            <a:lvl1pPr marL="0" indent="0" algn="l" defTabSz="685783" rtl="0" eaLnBrk="1" latinLnBrk="0" hangingPunct="1">
              <a:lnSpc>
                <a:spcPct val="90000"/>
              </a:lnSpc>
              <a:spcBef>
                <a:spcPts val="0"/>
              </a:spcBef>
              <a:spcAft>
                <a:spcPts val="4800"/>
              </a:spcAft>
              <a:buFont typeface="Arial" panose="020B0604020202020204" pitchFamily="34" charset="0"/>
              <a:buNone/>
              <a:defRPr sz="4800" kern="1200">
                <a:solidFill>
                  <a:schemeClr val="bg1"/>
                </a:solidFill>
                <a:latin typeface="+mn-lt"/>
                <a:ea typeface="+mn-ea"/>
                <a:cs typeface="+mn-cs"/>
              </a:defRPr>
            </a:lvl1pPr>
            <a:lvl2pPr marL="0" indent="0" algn="l" defTabSz="685783" rtl="0" eaLnBrk="1" latinLnBrk="0" hangingPunct="1">
              <a:lnSpc>
                <a:spcPct val="100000"/>
              </a:lnSpc>
              <a:spcBef>
                <a:spcPts val="0"/>
              </a:spcBef>
              <a:spcAft>
                <a:spcPts val="600"/>
              </a:spcAft>
              <a:buClr>
                <a:schemeClr val="accent1"/>
              </a:buClr>
              <a:buFont typeface="Arial" panose="020B0604020202020204" pitchFamily="34" charset="0"/>
              <a:buNone/>
              <a:defRPr sz="2800" kern="1200">
                <a:solidFill>
                  <a:schemeClr val="bg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bg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1400" dirty="0"/>
              <a:t>ADP Executive Briefing Series | 17th March 2020</a:t>
            </a:r>
          </a:p>
        </p:txBody>
      </p:sp>
      <p:pic>
        <p:nvPicPr>
          <p:cNvPr id="11" name="Grafik 10">
            <a:extLst>
              <a:ext uri="{FF2B5EF4-FFF2-40B4-BE49-F238E27FC236}">
                <a16:creationId xmlns:a16="http://schemas.microsoft.com/office/drawing/2014/main" id="{EA1AEF84-0ABA-4547-B61D-6EFAE21CDA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4234" y="4619083"/>
            <a:ext cx="627587" cy="285760"/>
          </a:xfrm>
          <a:prstGeom prst="rect">
            <a:avLst/>
          </a:prstGeom>
        </p:spPr>
      </p:pic>
    </p:spTree>
    <p:extLst>
      <p:ext uri="{BB962C8B-B14F-4D97-AF65-F5344CB8AC3E}">
        <p14:creationId xmlns:p14="http://schemas.microsoft.com/office/powerpoint/2010/main" val="1609513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D2032529-328E-4B90-940F-07D98E584983}"/>
              </a:ext>
            </a:extLst>
          </p:cNvPr>
          <p:cNvSpPr>
            <a:spLocks noGrp="1"/>
          </p:cNvSpPr>
          <p:nvPr>
            <p:ph type="sldNum" sz="quarter" idx="11"/>
          </p:nvPr>
        </p:nvSpPr>
        <p:spPr/>
        <p:txBody>
          <a:bodyPr/>
          <a:lstStyle/>
          <a:p>
            <a:fld id="{0C691DA3-4ABE-49F3-91E6-D9975CC9DD5F}" type="slidenum">
              <a:rPr lang="en-US" smtClean="0"/>
              <a:pPr/>
              <a:t>2</a:t>
            </a:fld>
            <a:endParaRPr lang="en-US" dirty="0"/>
          </a:p>
        </p:txBody>
      </p:sp>
      <p:sp>
        <p:nvSpPr>
          <p:cNvPr id="5" name="Textplatzhalter 4">
            <a:extLst>
              <a:ext uri="{FF2B5EF4-FFF2-40B4-BE49-F238E27FC236}">
                <a16:creationId xmlns:a16="http://schemas.microsoft.com/office/drawing/2014/main" id="{B4D1389E-83A0-4419-919B-8ED0072B32B9}"/>
              </a:ext>
            </a:extLst>
          </p:cNvPr>
          <p:cNvSpPr>
            <a:spLocks noGrp="1"/>
          </p:cNvSpPr>
          <p:nvPr>
            <p:ph sz="quarter" idx="4294967295"/>
          </p:nvPr>
        </p:nvSpPr>
        <p:spPr>
          <a:xfrm>
            <a:off x="231961" y="3249429"/>
            <a:ext cx="2965078" cy="1508105"/>
          </a:xfrm>
        </p:spPr>
        <p:txBody>
          <a:bodyPr/>
          <a:lstStyle/>
          <a:p>
            <a:r>
              <a:rPr lang="en-US" sz="1100" u="sng" dirty="0">
                <a:solidFill>
                  <a:schemeClr val="bg1"/>
                </a:solidFill>
              </a:rPr>
              <a:t>Executive Summary</a:t>
            </a:r>
          </a:p>
          <a:p>
            <a:r>
              <a:rPr lang="en-US" sz="1100" dirty="0">
                <a:solidFill>
                  <a:schemeClr val="bg1"/>
                </a:solidFill>
              </a:rPr>
              <a:t>Although global trade growth is on the decline, according to predictions by the World Trade Organization (WTO), it has not stopped companies from extending their reach abroad.1 The opportunity to diversify markets and supply chains and increase access to specialist skills and capabilities is too tempting.</a:t>
            </a:r>
            <a:endParaRPr lang="de-DE" sz="1100" dirty="0">
              <a:solidFill>
                <a:schemeClr val="bg1"/>
              </a:solidFill>
            </a:endParaRPr>
          </a:p>
        </p:txBody>
      </p:sp>
      <p:pic>
        <p:nvPicPr>
          <p:cNvPr id="10" name="Grafik 9">
            <a:extLst>
              <a:ext uri="{FF2B5EF4-FFF2-40B4-BE49-F238E27FC236}">
                <a16:creationId xmlns:a16="http://schemas.microsoft.com/office/drawing/2014/main" id="{88EB2473-1D08-4664-9533-5E33A1C5B583}"/>
              </a:ext>
            </a:extLst>
          </p:cNvPr>
          <p:cNvPicPr>
            <a:picLocks noChangeAspect="1"/>
          </p:cNvPicPr>
          <p:nvPr/>
        </p:nvPicPr>
        <p:blipFill rotWithShape="1">
          <a:blip r:embed="rId2"/>
          <a:srcRect t="13561" b="1326"/>
          <a:stretch/>
        </p:blipFill>
        <p:spPr>
          <a:xfrm>
            <a:off x="0" y="672"/>
            <a:ext cx="9143998" cy="5143500"/>
          </a:xfrm>
          <a:prstGeom prst="rect">
            <a:avLst/>
          </a:prstGeom>
        </p:spPr>
      </p:pic>
      <p:sp>
        <p:nvSpPr>
          <p:cNvPr id="11" name="Rechteck 10">
            <a:extLst>
              <a:ext uri="{FF2B5EF4-FFF2-40B4-BE49-F238E27FC236}">
                <a16:creationId xmlns:a16="http://schemas.microsoft.com/office/drawing/2014/main" id="{425B337C-01DC-454F-B81D-391900FDA57C}"/>
              </a:ext>
            </a:extLst>
          </p:cNvPr>
          <p:cNvSpPr/>
          <p:nvPr/>
        </p:nvSpPr>
        <p:spPr>
          <a:xfrm>
            <a:off x="231961" y="221026"/>
            <a:ext cx="3248812" cy="4636755"/>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sp>
        <p:nvSpPr>
          <p:cNvPr id="12" name="Textplatzhalter 4">
            <a:extLst>
              <a:ext uri="{FF2B5EF4-FFF2-40B4-BE49-F238E27FC236}">
                <a16:creationId xmlns:a16="http://schemas.microsoft.com/office/drawing/2014/main" id="{60BE7221-BBF8-427D-992D-2158CB68BC5B}"/>
              </a:ext>
            </a:extLst>
          </p:cNvPr>
          <p:cNvSpPr txBox="1">
            <a:spLocks/>
          </p:cNvSpPr>
          <p:nvPr/>
        </p:nvSpPr>
        <p:spPr>
          <a:xfrm>
            <a:off x="340063" y="384967"/>
            <a:ext cx="2965078" cy="4308872"/>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0"/>
              </a:spcAft>
            </a:pPr>
            <a:r>
              <a:rPr lang="en-US" sz="1400" u="sng" dirty="0">
                <a:solidFill>
                  <a:schemeClr val="bg1"/>
                </a:solidFill>
              </a:rPr>
              <a:t>The Research</a:t>
            </a:r>
          </a:p>
          <a:p>
            <a:pPr>
              <a:spcAft>
                <a:spcPts val="0"/>
              </a:spcAft>
            </a:pPr>
            <a:endParaRPr lang="en-US" sz="1400" u="sng" dirty="0">
              <a:solidFill>
                <a:schemeClr val="bg1"/>
              </a:solidFill>
            </a:endParaRPr>
          </a:p>
          <a:p>
            <a:pPr>
              <a:spcAft>
                <a:spcPts val="0"/>
              </a:spcAft>
            </a:pPr>
            <a:r>
              <a:rPr lang="en-US" sz="1400" dirty="0">
                <a:solidFill>
                  <a:schemeClr val="bg1"/>
                </a:solidFill>
              </a:rPr>
              <a:t>“Growing pains: The HR challenges of international expansion” is an Economist Intelligence Unit report, sponsored by ADP. </a:t>
            </a:r>
          </a:p>
          <a:p>
            <a:pPr>
              <a:spcAft>
                <a:spcPts val="0"/>
              </a:spcAft>
            </a:pPr>
            <a:endParaRPr lang="en-US" sz="1400" dirty="0">
              <a:solidFill>
                <a:schemeClr val="bg1"/>
              </a:solidFill>
            </a:endParaRPr>
          </a:p>
          <a:p>
            <a:pPr>
              <a:spcAft>
                <a:spcPts val="0"/>
              </a:spcAft>
            </a:pPr>
            <a:r>
              <a:rPr lang="en-US" sz="1400" dirty="0">
                <a:solidFill>
                  <a:schemeClr val="bg1"/>
                </a:solidFill>
              </a:rPr>
              <a:t>It identifies the chief HR challenges of managing a growing international workforce and the executive leadership skills, technologies and strategies that are important for overcoming them. </a:t>
            </a:r>
          </a:p>
          <a:p>
            <a:pPr>
              <a:spcAft>
                <a:spcPts val="0"/>
              </a:spcAft>
            </a:pPr>
            <a:endParaRPr lang="en-US" sz="1400" dirty="0">
              <a:solidFill>
                <a:schemeClr val="bg1"/>
              </a:solidFill>
            </a:endParaRPr>
          </a:p>
          <a:p>
            <a:pPr marL="171450" lvl="0" indent="-171450">
              <a:spcAft>
                <a:spcPts val="0"/>
              </a:spcAft>
              <a:buFont typeface="Taub Sans" pitchFamily="2" charset="0"/>
              <a:buChar char="."/>
              <a:defRPr/>
            </a:pPr>
            <a:r>
              <a:rPr lang="en-US" sz="1400" dirty="0">
                <a:solidFill>
                  <a:schemeClr val="bg1"/>
                </a:solidFill>
              </a:rPr>
              <a:t>1,000 HR executives in internationally expanding companies share their views</a:t>
            </a:r>
          </a:p>
          <a:p>
            <a:pPr marL="171450" indent="-171450">
              <a:spcAft>
                <a:spcPts val="0"/>
              </a:spcAft>
              <a:buFont typeface="Taub Sans" pitchFamily="2" charset="0"/>
              <a:buChar char="."/>
              <a:defRPr/>
            </a:pPr>
            <a:r>
              <a:rPr lang="en-US" sz="1400" dirty="0">
                <a:solidFill>
                  <a:schemeClr val="bg1"/>
                </a:solidFill>
              </a:rPr>
              <a:t>A third of respondents are from companies with 5,000+ employees</a:t>
            </a:r>
          </a:p>
          <a:p>
            <a:pPr marL="171450" lvl="0" indent="-171450">
              <a:spcAft>
                <a:spcPts val="0"/>
              </a:spcAft>
              <a:buFont typeface="Taub Sans" pitchFamily="2" charset="0"/>
              <a:buChar char="."/>
              <a:defRPr/>
            </a:pPr>
            <a:r>
              <a:rPr lang="en-US" sz="1400" dirty="0">
                <a:solidFill>
                  <a:schemeClr val="bg1"/>
                </a:solidFill>
              </a:rPr>
              <a:t>Global survey conducted Oct–Nov 2019</a:t>
            </a:r>
            <a:endParaRPr lang="de-DE" sz="1400" dirty="0">
              <a:solidFill>
                <a:schemeClr val="bg1"/>
              </a:solidFill>
            </a:endParaRPr>
          </a:p>
        </p:txBody>
      </p:sp>
      <p:pic>
        <p:nvPicPr>
          <p:cNvPr id="7" name="Grafik 3">
            <a:extLst>
              <a:ext uri="{FF2B5EF4-FFF2-40B4-BE49-F238E27FC236}">
                <a16:creationId xmlns:a16="http://schemas.microsoft.com/office/drawing/2014/main" id="{7D96FC88-4CD0-4E9E-9590-921A569626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4234" y="4619083"/>
            <a:ext cx="627587" cy="285760"/>
          </a:xfrm>
          <a:prstGeom prst="rect">
            <a:avLst/>
          </a:prstGeom>
        </p:spPr>
      </p:pic>
    </p:spTree>
    <p:extLst>
      <p:ext uri="{BB962C8B-B14F-4D97-AF65-F5344CB8AC3E}">
        <p14:creationId xmlns:p14="http://schemas.microsoft.com/office/powerpoint/2010/main" val="308829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15C8842E-D1E3-42FA-B317-CB70900789F1}"/>
              </a:ext>
            </a:extLst>
          </p:cNvPr>
          <p:cNvPicPr>
            <a:picLocks noChangeAspect="1"/>
          </p:cNvPicPr>
          <p:nvPr/>
        </p:nvPicPr>
        <p:blipFill rotWithShape="1">
          <a:blip r:embed="rId3"/>
          <a:srcRect r="9979"/>
          <a:stretch/>
        </p:blipFill>
        <p:spPr>
          <a:xfrm>
            <a:off x="1" y="0"/>
            <a:ext cx="9144000" cy="5140008"/>
          </a:xfrm>
          <a:prstGeom prst="rect">
            <a:avLst/>
          </a:prstGeom>
        </p:spPr>
      </p:pic>
      <p:sp>
        <p:nvSpPr>
          <p:cNvPr id="2" name="Foliennummernplatzhalter 1">
            <a:extLst>
              <a:ext uri="{FF2B5EF4-FFF2-40B4-BE49-F238E27FC236}">
                <a16:creationId xmlns:a16="http://schemas.microsoft.com/office/drawing/2014/main" id="{0908A1BE-7F55-4B83-A0BB-41C726A8FBB9}"/>
              </a:ext>
            </a:extLst>
          </p:cNvPr>
          <p:cNvSpPr>
            <a:spLocks noGrp="1"/>
          </p:cNvSpPr>
          <p:nvPr>
            <p:ph type="sldNum" sz="quarter" idx="14"/>
          </p:nvPr>
        </p:nvSpPr>
        <p:spPr/>
        <p:txBody>
          <a:bodyPr/>
          <a:lstStyle/>
          <a:p>
            <a:fld id="{0C691DA3-4ABE-49F3-91E6-D9975CC9DD5F}" type="slidenum">
              <a:rPr lang="en-US" smtClean="0"/>
              <a:pPr/>
              <a:t>3</a:t>
            </a:fld>
            <a:endParaRPr lang="en-US" dirty="0"/>
          </a:p>
        </p:txBody>
      </p:sp>
      <p:sp>
        <p:nvSpPr>
          <p:cNvPr id="20" name="Rechteck 19">
            <a:extLst>
              <a:ext uri="{FF2B5EF4-FFF2-40B4-BE49-F238E27FC236}">
                <a16:creationId xmlns:a16="http://schemas.microsoft.com/office/drawing/2014/main" id="{9E725402-9A72-43B9-A50D-D300226E70C9}"/>
              </a:ext>
            </a:extLst>
          </p:cNvPr>
          <p:cNvSpPr/>
          <p:nvPr/>
        </p:nvSpPr>
        <p:spPr>
          <a:xfrm>
            <a:off x="1" y="3431688"/>
            <a:ext cx="3248812" cy="1711811"/>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sp>
        <p:nvSpPr>
          <p:cNvPr id="10" name="Inhaltsplatzhalter 9">
            <a:extLst>
              <a:ext uri="{FF2B5EF4-FFF2-40B4-BE49-F238E27FC236}">
                <a16:creationId xmlns:a16="http://schemas.microsoft.com/office/drawing/2014/main" id="{B619CCFD-CD73-4CBF-A8E7-108C76E5F22F}"/>
              </a:ext>
            </a:extLst>
          </p:cNvPr>
          <p:cNvSpPr>
            <a:spLocks noGrp="1"/>
          </p:cNvSpPr>
          <p:nvPr>
            <p:ph sz="quarter" idx="4294967295"/>
          </p:nvPr>
        </p:nvSpPr>
        <p:spPr>
          <a:xfrm>
            <a:off x="150610" y="4072149"/>
            <a:ext cx="2947594" cy="430887"/>
          </a:xfrm>
        </p:spPr>
        <p:txBody>
          <a:bodyPr/>
          <a:lstStyle/>
          <a:p>
            <a:r>
              <a:rPr lang="de-DE" sz="2800" dirty="0">
                <a:solidFill>
                  <a:schemeClr val="bg1"/>
                </a:solidFill>
                <a:latin typeface="+mj-lt"/>
                <a:ea typeface="+mj-ea"/>
                <a:cs typeface="+mj-cs"/>
              </a:rPr>
              <a:t>5 Key </a:t>
            </a:r>
            <a:r>
              <a:rPr lang="de-DE" sz="2800" dirty="0" err="1">
                <a:solidFill>
                  <a:schemeClr val="bg1"/>
                </a:solidFill>
                <a:latin typeface="+mj-lt"/>
                <a:ea typeface="+mj-ea"/>
                <a:cs typeface="+mj-cs"/>
              </a:rPr>
              <a:t>findings</a:t>
            </a:r>
            <a:endParaRPr lang="de-DE" sz="2800" dirty="0">
              <a:solidFill>
                <a:schemeClr val="bg1"/>
              </a:solidFill>
              <a:latin typeface="+mj-lt"/>
              <a:ea typeface="+mj-ea"/>
              <a:cs typeface="+mj-cs"/>
            </a:endParaRPr>
          </a:p>
        </p:txBody>
      </p:sp>
      <p:pic>
        <p:nvPicPr>
          <p:cNvPr id="6" name="Grafik 3">
            <a:extLst>
              <a:ext uri="{FF2B5EF4-FFF2-40B4-BE49-F238E27FC236}">
                <a16:creationId xmlns:a16="http://schemas.microsoft.com/office/drawing/2014/main" id="{33F16DDC-233F-4996-8C61-0BB567EFD1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4234" y="4619083"/>
            <a:ext cx="627587" cy="285760"/>
          </a:xfrm>
          <a:prstGeom prst="rect">
            <a:avLst/>
          </a:prstGeom>
        </p:spPr>
      </p:pic>
    </p:spTree>
    <p:extLst>
      <p:ext uri="{BB962C8B-B14F-4D97-AF65-F5344CB8AC3E}">
        <p14:creationId xmlns:p14="http://schemas.microsoft.com/office/powerpoint/2010/main" val="3404422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0908A1BE-7F55-4B83-A0BB-41C726A8FBB9}"/>
              </a:ext>
            </a:extLst>
          </p:cNvPr>
          <p:cNvSpPr>
            <a:spLocks noGrp="1"/>
          </p:cNvSpPr>
          <p:nvPr>
            <p:ph type="sldNum" sz="quarter" idx="14"/>
          </p:nvPr>
        </p:nvSpPr>
        <p:spPr/>
        <p:txBody>
          <a:bodyPr/>
          <a:lstStyle/>
          <a:p>
            <a:fld id="{0C691DA3-4ABE-49F3-91E6-D9975CC9DD5F}" type="slidenum">
              <a:rPr lang="en-US" smtClean="0"/>
              <a:pPr/>
              <a:t>4</a:t>
            </a:fld>
            <a:endParaRPr lang="en-US" dirty="0"/>
          </a:p>
        </p:txBody>
      </p:sp>
      <p:pic>
        <p:nvPicPr>
          <p:cNvPr id="15" name="Grafik 14">
            <a:extLst>
              <a:ext uri="{FF2B5EF4-FFF2-40B4-BE49-F238E27FC236}">
                <a16:creationId xmlns:a16="http://schemas.microsoft.com/office/drawing/2014/main" id="{1645C504-2951-4F88-9087-4C5C1DB4116E}"/>
              </a:ext>
            </a:extLst>
          </p:cNvPr>
          <p:cNvPicPr>
            <a:picLocks noChangeAspect="1"/>
          </p:cNvPicPr>
          <p:nvPr/>
        </p:nvPicPr>
        <p:blipFill rotWithShape="1">
          <a:blip r:embed="rId3"/>
          <a:srcRect t="8960" b="8960"/>
          <a:stretch/>
        </p:blipFill>
        <p:spPr>
          <a:xfrm>
            <a:off x="-103239" y="-1"/>
            <a:ext cx="9247239" cy="5143501"/>
          </a:xfrm>
          <a:prstGeom prst="rect">
            <a:avLst/>
          </a:prstGeom>
        </p:spPr>
      </p:pic>
      <p:sp>
        <p:nvSpPr>
          <p:cNvPr id="20" name="Rechteck 19">
            <a:extLst>
              <a:ext uri="{FF2B5EF4-FFF2-40B4-BE49-F238E27FC236}">
                <a16:creationId xmlns:a16="http://schemas.microsoft.com/office/drawing/2014/main" id="{9E725402-9A72-43B9-A50D-D300226E70C9}"/>
              </a:ext>
            </a:extLst>
          </p:cNvPr>
          <p:cNvSpPr/>
          <p:nvPr/>
        </p:nvSpPr>
        <p:spPr>
          <a:xfrm>
            <a:off x="107575" y="183551"/>
            <a:ext cx="3248812" cy="256032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sp>
        <p:nvSpPr>
          <p:cNvPr id="10" name="Inhaltsplatzhalter 9">
            <a:extLst>
              <a:ext uri="{FF2B5EF4-FFF2-40B4-BE49-F238E27FC236}">
                <a16:creationId xmlns:a16="http://schemas.microsoft.com/office/drawing/2014/main" id="{B619CCFD-CD73-4CBF-A8E7-108C76E5F22F}"/>
              </a:ext>
            </a:extLst>
          </p:cNvPr>
          <p:cNvSpPr>
            <a:spLocks noGrp="1"/>
          </p:cNvSpPr>
          <p:nvPr>
            <p:ph sz="quarter" idx="4294967295"/>
          </p:nvPr>
        </p:nvSpPr>
        <p:spPr>
          <a:xfrm>
            <a:off x="258184" y="309549"/>
            <a:ext cx="2947594" cy="1877437"/>
          </a:xfrm>
        </p:spPr>
        <p:txBody>
          <a:bodyPr/>
          <a:lstStyle/>
          <a:p>
            <a:r>
              <a:rPr lang="de-DE" sz="2800" dirty="0">
                <a:solidFill>
                  <a:schemeClr val="bg1"/>
                </a:solidFill>
                <a:latin typeface="+mj-lt"/>
                <a:ea typeface="+mj-ea"/>
                <a:cs typeface="+mj-cs"/>
              </a:rPr>
              <a:t>1 |</a:t>
            </a:r>
          </a:p>
          <a:p>
            <a:r>
              <a:rPr lang="de-DE" sz="2800" dirty="0">
                <a:solidFill>
                  <a:schemeClr val="bg1"/>
                </a:solidFill>
                <a:latin typeface="+mj-lt"/>
                <a:ea typeface="+mj-ea"/>
                <a:cs typeface="+mj-cs"/>
              </a:rPr>
              <a:t>International </a:t>
            </a:r>
            <a:r>
              <a:rPr lang="de-DE" sz="2800" dirty="0" err="1">
                <a:solidFill>
                  <a:schemeClr val="bg1"/>
                </a:solidFill>
                <a:latin typeface="+mj-lt"/>
                <a:ea typeface="+mj-ea"/>
                <a:cs typeface="+mj-cs"/>
              </a:rPr>
              <a:t>expansion</a:t>
            </a:r>
            <a:r>
              <a:rPr lang="de-DE" sz="2800" dirty="0">
                <a:solidFill>
                  <a:schemeClr val="bg1"/>
                </a:solidFill>
                <a:latin typeface="+mj-lt"/>
                <a:ea typeface="+mj-ea"/>
                <a:cs typeface="+mj-cs"/>
              </a:rPr>
              <a:t> </a:t>
            </a:r>
            <a:r>
              <a:rPr lang="de-DE" sz="2800" dirty="0" err="1">
                <a:solidFill>
                  <a:schemeClr val="bg1"/>
                </a:solidFill>
                <a:latin typeface="+mj-lt"/>
                <a:ea typeface="+mj-ea"/>
                <a:cs typeface="+mj-cs"/>
              </a:rPr>
              <a:t>is</a:t>
            </a:r>
            <a:r>
              <a:rPr lang="de-DE" sz="2800" dirty="0">
                <a:solidFill>
                  <a:schemeClr val="bg1"/>
                </a:solidFill>
                <a:latin typeface="+mj-lt"/>
                <a:ea typeface="+mj-ea"/>
                <a:cs typeface="+mj-cs"/>
              </a:rPr>
              <a:t> </a:t>
            </a:r>
            <a:r>
              <a:rPr lang="de-DE" sz="2800" dirty="0" err="1">
                <a:solidFill>
                  <a:schemeClr val="bg1"/>
                </a:solidFill>
                <a:latin typeface="+mj-lt"/>
                <a:ea typeface="+mj-ea"/>
                <a:cs typeface="+mj-cs"/>
              </a:rPr>
              <a:t>poised</a:t>
            </a:r>
            <a:r>
              <a:rPr lang="de-DE" sz="2800" dirty="0">
                <a:solidFill>
                  <a:schemeClr val="bg1"/>
                </a:solidFill>
                <a:latin typeface="+mj-lt"/>
                <a:ea typeface="+mj-ea"/>
                <a:cs typeface="+mj-cs"/>
              </a:rPr>
              <a:t> </a:t>
            </a:r>
            <a:r>
              <a:rPr lang="de-DE" sz="2800" dirty="0" err="1">
                <a:solidFill>
                  <a:schemeClr val="bg1"/>
                </a:solidFill>
                <a:latin typeface="+mj-lt"/>
                <a:ea typeface="+mj-ea"/>
                <a:cs typeface="+mj-cs"/>
              </a:rPr>
              <a:t>to</a:t>
            </a:r>
            <a:r>
              <a:rPr lang="de-DE" sz="2800" dirty="0">
                <a:solidFill>
                  <a:schemeClr val="bg1"/>
                </a:solidFill>
                <a:latin typeface="+mj-lt"/>
                <a:ea typeface="+mj-ea"/>
                <a:cs typeface="+mj-cs"/>
              </a:rPr>
              <a:t> </a:t>
            </a:r>
            <a:r>
              <a:rPr lang="de-DE" sz="2800" dirty="0" err="1">
                <a:solidFill>
                  <a:schemeClr val="bg1"/>
                </a:solidFill>
                <a:latin typeface="+mj-lt"/>
                <a:ea typeface="+mj-ea"/>
                <a:cs typeface="+mj-cs"/>
              </a:rPr>
              <a:t>accelerate</a:t>
            </a:r>
            <a:endParaRPr lang="de-DE" sz="2800" dirty="0">
              <a:solidFill>
                <a:schemeClr val="bg1"/>
              </a:solidFill>
              <a:latin typeface="+mj-lt"/>
              <a:ea typeface="+mj-ea"/>
              <a:cs typeface="+mj-cs"/>
            </a:endParaRPr>
          </a:p>
        </p:txBody>
      </p:sp>
      <p:pic>
        <p:nvPicPr>
          <p:cNvPr id="3" name="Picture 2">
            <a:extLst>
              <a:ext uri="{FF2B5EF4-FFF2-40B4-BE49-F238E27FC236}">
                <a16:creationId xmlns:a16="http://schemas.microsoft.com/office/drawing/2014/main" id="{9200C535-98DD-4BAE-A530-E091229E8B2F}"/>
              </a:ext>
            </a:extLst>
          </p:cNvPr>
          <p:cNvPicPr>
            <a:picLocks noChangeAspect="1"/>
          </p:cNvPicPr>
          <p:nvPr/>
        </p:nvPicPr>
        <p:blipFill>
          <a:blip r:embed="rId4"/>
          <a:stretch>
            <a:fillRect/>
          </a:stretch>
        </p:blipFill>
        <p:spPr>
          <a:xfrm>
            <a:off x="4862301" y="877555"/>
            <a:ext cx="2989754" cy="3388388"/>
          </a:xfrm>
          <a:prstGeom prst="rect">
            <a:avLst/>
          </a:prstGeom>
        </p:spPr>
      </p:pic>
      <p:pic>
        <p:nvPicPr>
          <p:cNvPr id="9" name="Grafik 3">
            <a:extLst>
              <a:ext uri="{FF2B5EF4-FFF2-40B4-BE49-F238E27FC236}">
                <a16:creationId xmlns:a16="http://schemas.microsoft.com/office/drawing/2014/main" id="{EEB74868-3FA9-470F-9E54-1782B1DB76E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84234" y="4619083"/>
            <a:ext cx="627587" cy="285760"/>
          </a:xfrm>
          <a:prstGeom prst="rect">
            <a:avLst/>
          </a:prstGeom>
        </p:spPr>
      </p:pic>
    </p:spTree>
    <p:extLst>
      <p:ext uri="{BB962C8B-B14F-4D97-AF65-F5344CB8AC3E}">
        <p14:creationId xmlns:p14="http://schemas.microsoft.com/office/powerpoint/2010/main" val="50782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DD17651-C0D7-4904-909A-C6E74D9165B3}"/>
              </a:ext>
            </a:extLst>
          </p:cNvPr>
          <p:cNvPicPr>
            <a:picLocks noChangeAspect="1"/>
          </p:cNvPicPr>
          <p:nvPr/>
        </p:nvPicPr>
        <p:blipFill>
          <a:blip r:embed="rId3"/>
          <a:stretch>
            <a:fillRect/>
          </a:stretch>
        </p:blipFill>
        <p:spPr>
          <a:xfrm>
            <a:off x="0" y="0"/>
            <a:ext cx="9144000" cy="5143500"/>
          </a:xfrm>
          <a:prstGeom prst="rect">
            <a:avLst/>
          </a:prstGeom>
        </p:spPr>
      </p:pic>
      <p:sp>
        <p:nvSpPr>
          <p:cNvPr id="2" name="Foliennummernplatzhalter 1">
            <a:extLst>
              <a:ext uri="{FF2B5EF4-FFF2-40B4-BE49-F238E27FC236}">
                <a16:creationId xmlns:a16="http://schemas.microsoft.com/office/drawing/2014/main" id="{0908A1BE-7F55-4B83-A0BB-41C726A8FBB9}"/>
              </a:ext>
            </a:extLst>
          </p:cNvPr>
          <p:cNvSpPr>
            <a:spLocks noGrp="1"/>
          </p:cNvSpPr>
          <p:nvPr>
            <p:ph type="sldNum" sz="quarter" idx="14"/>
          </p:nvPr>
        </p:nvSpPr>
        <p:spPr/>
        <p:txBody>
          <a:bodyPr/>
          <a:lstStyle/>
          <a:p>
            <a:fld id="{0C691DA3-4ABE-49F3-91E6-D9975CC9DD5F}" type="slidenum">
              <a:rPr lang="en-US" smtClean="0"/>
              <a:pPr/>
              <a:t>5</a:t>
            </a:fld>
            <a:endParaRPr lang="en-US" dirty="0"/>
          </a:p>
        </p:txBody>
      </p:sp>
      <p:grpSp>
        <p:nvGrpSpPr>
          <p:cNvPr id="4" name="Gruppieren 3">
            <a:extLst>
              <a:ext uri="{FF2B5EF4-FFF2-40B4-BE49-F238E27FC236}">
                <a16:creationId xmlns:a16="http://schemas.microsoft.com/office/drawing/2014/main" id="{1DE51972-4E21-4EF6-B11B-9921277BA00C}"/>
              </a:ext>
            </a:extLst>
          </p:cNvPr>
          <p:cNvGrpSpPr/>
          <p:nvPr/>
        </p:nvGrpSpPr>
        <p:grpSpPr>
          <a:xfrm>
            <a:off x="193639" y="180457"/>
            <a:ext cx="3248812" cy="2560320"/>
            <a:chOff x="4023361" y="309549"/>
            <a:chExt cx="3248812" cy="2560320"/>
          </a:xfrm>
        </p:grpSpPr>
        <p:sp>
          <p:nvSpPr>
            <p:cNvPr id="11" name="Rechteck 10">
              <a:extLst>
                <a:ext uri="{FF2B5EF4-FFF2-40B4-BE49-F238E27FC236}">
                  <a16:creationId xmlns:a16="http://schemas.microsoft.com/office/drawing/2014/main" id="{83ADC733-279B-4730-8459-AE9DB8ADBAD3}"/>
                </a:ext>
              </a:extLst>
            </p:cNvPr>
            <p:cNvSpPr/>
            <p:nvPr/>
          </p:nvSpPr>
          <p:spPr>
            <a:xfrm>
              <a:off x="4023361" y="309549"/>
              <a:ext cx="3248812" cy="256032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sp>
          <p:nvSpPr>
            <p:cNvPr id="12" name="Inhaltsplatzhalter 9">
              <a:extLst>
                <a:ext uri="{FF2B5EF4-FFF2-40B4-BE49-F238E27FC236}">
                  <a16:creationId xmlns:a16="http://schemas.microsoft.com/office/drawing/2014/main" id="{174305BC-3CF7-42C4-9A51-CEB061474013}"/>
                </a:ext>
              </a:extLst>
            </p:cNvPr>
            <p:cNvSpPr txBox="1">
              <a:spLocks/>
            </p:cNvSpPr>
            <p:nvPr/>
          </p:nvSpPr>
          <p:spPr>
            <a:xfrm>
              <a:off x="4173970" y="435547"/>
              <a:ext cx="2947594" cy="2369880"/>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400" dirty="0">
                  <a:solidFill>
                    <a:schemeClr val="bg1"/>
                  </a:solidFill>
                  <a:latin typeface="+mj-lt"/>
                  <a:ea typeface="+mj-ea"/>
                  <a:cs typeface="+mj-cs"/>
                </a:rPr>
                <a:t>2 |</a:t>
              </a:r>
            </a:p>
            <a:p>
              <a:r>
                <a:rPr lang="de-DE" sz="2400" dirty="0">
                  <a:solidFill>
                    <a:schemeClr val="bg1"/>
                  </a:solidFill>
                  <a:latin typeface="+mj-lt"/>
                  <a:ea typeface="+mj-ea"/>
                  <a:cs typeface="+mj-cs"/>
                </a:rPr>
                <a:t>Technology and </a:t>
              </a:r>
              <a:r>
                <a:rPr lang="de-DE" sz="2400" dirty="0" err="1">
                  <a:solidFill>
                    <a:schemeClr val="bg1"/>
                  </a:solidFill>
                  <a:latin typeface="+mj-lt"/>
                  <a:ea typeface="+mj-ea"/>
                  <a:cs typeface="+mj-cs"/>
                </a:rPr>
                <a:t>data</a:t>
              </a:r>
              <a:r>
                <a:rPr lang="de-DE" sz="2400" dirty="0">
                  <a:solidFill>
                    <a:schemeClr val="bg1"/>
                  </a:solidFill>
                  <a:latin typeface="+mj-lt"/>
                  <a:ea typeface="+mj-ea"/>
                  <a:cs typeface="+mj-cs"/>
                </a:rPr>
                <a:t> </a:t>
              </a:r>
              <a:r>
                <a:rPr lang="de-DE" sz="2400" dirty="0" err="1">
                  <a:solidFill>
                    <a:schemeClr val="bg1"/>
                  </a:solidFill>
                  <a:latin typeface="+mj-lt"/>
                  <a:ea typeface="+mj-ea"/>
                  <a:cs typeface="+mj-cs"/>
                </a:rPr>
                <a:t>analytics</a:t>
              </a:r>
              <a:r>
                <a:rPr lang="de-DE" sz="2400" dirty="0">
                  <a:solidFill>
                    <a:schemeClr val="bg1"/>
                  </a:solidFill>
                  <a:latin typeface="+mj-lt"/>
                  <a:ea typeface="+mj-ea"/>
                  <a:cs typeface="+mj-cs"/>
                </a:rPr>
                <a:t> </a:t>
              </a:r>
              <a:r>
                <a:rPr lang="de-DE" sz="2400" dirty="0" err="1">
                  <a:solidFill>
                    <a:schemeClr val="bg1"/>
                  </a:solidFill>
                  <a:latin typeface="+mj-lt"/>
                  <a:ea typeface="+mj-ea"/>
                  <a:cs typeface="+mj-cs"/>
                </a:rPr>
                <a:t>have</a:t>
              </a:r>
              <a:r>
                <a:rPr lang="de-DE" sz="2400" dirty="0">
                  <a:solidFill>
                    <a:schemeClr val="bg1"/>
                  </a:solidFill>
                  <a:latin typeface="+mj-lt"/>
                  <a:ea typeface="+mj-ea"/>
                  <a:cs typeface="+mj-cs"/>
                </a:rPr>
                <a:t> </a:t>
              </a:r>
              <a:r>
                <a:rPr lang="de-DE" sz="2400" dirty="0" err="1">
                  <a:solidFill>
                    <a:schemeClr val="bg1"/>
                  </a:solidFill>
                  <a:latin typeface="+mj-lt"/>
                  <a:ea typeface="+mj-ea"/>
                  <a:cs typeface="+mj-cs"/>
                </a:rPr>
                <a:t>greatly</a:t>
              </a:r>
              <a:r>
                <a:rPr lang="de-DE" sz="2400" dirty="0">
                  <a:solidFill>
                    <a:schemeClr val="bg1"/>
                  </a:solidFill>
                  <a:latin typeface="+mj-lt"/>
                  <a:ea typeface="+mj-ea"/>
                  <a:cs typeface="+mj-cs"/>
                </a:rPr>
                <a:t> </a:t>
              </a:r>
              <a:r>
                <a:rPr lang="de-DE" sz="2400" dirty="0" err="1">
                  <a:solidFill>
                    <a:schemeClr val="bg1"/>
                  </a:solidFill>
                  <a:latin typeface="+mj-lt"/>
                  <a:ea typeface="+mj-ea"/>
                  <a:cs typeface="+mj-cs"/>
                </a:rPr>
                <a:t>helped</a:t>
              </a:r>
              <a:r>
                <a:rPr lang="de-DE" sz="2400" dirty="0">
                  <a:solidFill>
                    <a:schemeClr val="bg1"/>
                  </a:solidFill>
                  <a:latin typeface="+mj-lt"/>
                  <a:ea typeface="+mj-ea"/>
                  <a:cs typeface="+mj-cs"/>
                </a:rPr>
                <a:t> </a:t>
              </a:r>
              <a:r>
                <a:rPr lang="de-DE" sz="2400" dirty="0" err="1">
                  <a:solidFill>
                    <a:schemeClr val="bg1"/>
                  </a:solidFill>
                  <a:latin typeface="+mj-lt"/>
                  <a:ea typeface="+mj-ea"/>
                  <a:cs typeface="+mj-cs"/>
                </a:rPr>
                <a:t>companies</a:t>
              </a:r>
              <a:r>
                <a:rPr lang="de-DE" sz="2400" dirty="0">
                  <a:solidFill>
                    <a:schemeClr val="bg1"/>
                  </a:solidFill>
                  <a:latin typeface="+mj-lt"/>
                  <a:ea typeface="+mj-ea"/>
                  <a:cs typeface="+mj-cs"/>
                </a:rPr>
                <a:t> </a:t>
              </a:r>
              <a:r>
                <a:rPr lang="de-DE" sz="2400" dirty="0" err="1">
                  <a:solidFill>
                    <a:schemeClr val="bg1"/>
                  </a:solidFill>
                  <a:latin typeface="+mj-lt"/>
                  <a:ea typeface="+mj-ea"/>
                  <a:cs typeface="+mj-cs"/>
                </a:rPr>
                <a:t>to</a:t>
              </a:r>
              <a:r>
                <a:rPr lang="de-DE" sz="2400" dirty="0">
                  <a:solidFill>
                    <a:schemeClr val="bg1"/>
                  </a:solidFill>
                  <a:latin typeface="+mj-lt"/>
                  <a:ea typeface="+mj-ea"/>
                  <a:cs typeface="+mj-cs"/>
                </a:rPr>
                <a:t> </a:t>
              </a:r>
              <a:r>
                <a:rPr lang="de-DE" sz="2400" dirty="0" err="1">
                  <a:solidFill>
                    <a:schemeClr val="bg1"/>
                  </a:solidFill>
                  <a:latin typeface="+mj-lt"/>
                  <a:ea typeface="+mj-ea"/>
                  <a:cs typeface="+mj-cs"/>
                </a:rPr>
                <a:t>expand</a:t>
              </a:r>
              <a:r>
                <a:rPr lang="de-DE" sz="2400" dirty="0">
                  <a:solidFill>
                    <a:schemeClr val="bg1"/>
                  </a:solidFill>
                  <a:latin typeface="+mj-lt"/>
                  <a:ea typeface="+mj-ea"/>
                  <a:cs typeface="+mj-cs"/>
                </a:rPr>
                <a:t> </a:t>
              </a:r>
              <a:r>
                <a:rPr lang="de-DE" sz="2400" dirty="0" err="1">
                  <a:solidFill>
                    <a:schemeClr val="bg1"/>
                  </a:solidFill>
                  <a:latin typeface="+mj-lt"/>
                  <a:ea typeface="+mj-ea"/>
                  <a:cs typeface="+mj-cs"/>
                </a:rPr>
                <a:t>their</a:t>
              </a:r>
              <a:r>
                <a:rPr lang="de-DE" sz="2400" dirty="0">
                  <a:solidFill>
                    <a:schemeClr val="bg1"/>
                  </a:solidFill>
                  <a:latin typeface="+mj-lt"/>
                  <a:ea typeface="+mj-ea"/>
                  <a:cs typeface="+mj-cs"/>
                </a:rPr>
                <a:t> global </a:t>
              </a:r>
              <a:r>
                <a:rPr lang="de-DE" sz="2400" dirty="0" err="1">
                  <a:solidFill>
                    <a:schemeClr val="bg1"/>
                  </a:solidFill>
                  <a:latin typeface="+mj-lt"/>
                  <a:ea typeface="+mj-ea"/>
                  <a:cs typeface="+mj-cs"/>
                </a:rPr>
                <a:t>functions</a:t>
              </a:r>
              <a:r>
                <a:rPr lang="de-DE" sz="2400" dirty="0">
                  <a:solidFill>
                    <a:schemeClr val="bg1"/>
                  </a:solidFill>
                  <a:latin typeface="+mj-lt"/>
                  <a:ea typeface="+mj-ea"/>
                  <a:cs typeface="+mj-cs"/>
                </a:rPr>
                <a:t>.</a:t>
              </a:r>
            </a:p>
          </p:txBody>
        </p:sp>
      </p:grpSp>
      <p:pic>
        <p:nvPicPr>
          <p:cNvPr id="7" name="Grafik 3">
            <a:extLst>
              <a:ext uri="{FF2B5EF4-FFF2-40B4-BE49-F238E27FC236}">
                <a16:creationId xmlns:a16="http://schemas.microsoft.com/office/drawing/2014/main" id="{6FDFFF33-A180-41A9-A0DB-E1D016D64F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4234" y="4619083"/>
            <a:ext cx="627587" cy="285760"/>
          </a:xfrm>
          <a:prstGeom prst="rect">
            <a:avLst/>
          </a:prstGeom>
        </p:spPr>
      </p:pic>
      <p:pic>
        <p:nvPicPr>
          <p:cNvPr id="5" name="Picture 4">
            <a:extLst>
              <a:ext uri="{FF2B5EF4-FFF2-40B4-BE49-F238E27FC236}">
                <a16:creationId xmlns:a16="http://schemas.microsoft.com/office/drawing/2014/main" id="{DE96F34B-29A4-4DC6-BEFA-D337A9490A13}"/>
              </a:ext>
            </a:extLst>
          </p:cNvPr>
          <p:cNvPicPr>
            <a:picLocks noChangeAspect="1"/>
          </p:cNvPicPr>
          <p:nvPr/>
        </p:nvPicPr>
        <p:blipFill>
          <a:blip r:embed="rId5"/>
          <a:stretch>
            <a:fillRect/>
          </a:stretch>
        </p:blipFill>
        <p:spPr>
          <a:xfrm>
            <a:off x="4118016" y="910414"/>
            <a:ext cx="3400859" cy="3660725"/>
          </a:xfrm>
          <a:prstGeom prst="rect">
            <a:avLst/>
          </a:prstGeom>
        </p:spPr>
      </p:pic>
    </p:spTree>
    <p:extLst>
      <p:ext uri="{BB962C8B-B14F-4D97-AF65-F5344CB8AC3E}">
        <p14:creationId xmlns:p14="http://schemas.microsoft.com/office/powerpoint/2010/main" val="41271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83E4060F-8DC6-4DB3-958B-341A01629482}"/>
              </a:ext>
            </a:extLst>
          </p:cNvPr>
          <p:cNvPicPr>
            <a:picLocks noChangeAspect="1"/>
          </p:cNvPicPr>
          <p:nvPr/>
        </p:nvPicPr>
        <p:blipFill rotWithShape="1">
          <a:blip r:embed="rId3"/>
          <a:srcRect t="1" r="2746" b="678"/>
          <a:stretch/>
        </p:blipFill>
        <p:spPr>
          <a:xfrm>
            <a:off x="0" y="0"/>
            <a:ext cx="9144000" cy="5143500"/>
          </a:xfrm>
          <a:prstGeom prst="rect">
            <a:avLst/>
          </a:prstGeom>
        </p:spPr>
      </p:pic>
      <p:sp>
        <p:nvSpPr>
          <p:cNvPr id="2" name="Foliennummernplatzhalter 1">
            <a:extLst>
              <a:ext uri="{FF2B5EF4-FFF2-40B4-BE49-F238E27FC236}">
                <a16:creationId xmlns:a16="http://schemas.microsoft.com/office/drawing/2014/main" id="{0908A1BE-7F55-4B83-A0BB-41C726A8FBB9}"/>
              </a:ext>
            </a:extLst>
          </p:cNvPr>
          <p:cNvSpPr>
            <a:spLocks noGrp="1"/>
          </p:cNvSpPr>
          <p:nvPr>
            <p:ph type="sldNum" sz="quarter" idx="14"/>
          </p:nvPr>
        </p:nvSpPr>
        <p:spPr/>
        <p:txBody>
          <a:bodyPr/>
          <a:lstStyle/>
          <a:p>
            <a:fld id="{0C691DA3-4ABE-49F3-91E6-D9975CC9DD5F}" type="slidenum">
              <a:rPr lang="en-US" smtClean="0"/>
              <a:pPr/>
              <a:t>6</a:t>
            </a:fld>
            <a:endParaRPr lang="en-US" dirty="0"/>
          </a:p>
        </p:txBody>
      </p:sp>
      <p:grpSp>
        <p:nvGrpSpPr>
          <p:cNvPr id="9" name="Gruppieren 8">
            <a:extLst>
              <a:ext uri="{FF2B5EF4-FFF2-40B4-BE49-F238E27FC236}">
                <a16:creationId xmlns:a16="http://schemas.microsoft.com/office/drawing/2014/main" id="{7FE97C7C-AA5C-478D-BC83-0C2B276D4F51}"/>
              </a:ext>
            </a:extLst>
          </p:cNvPr>
          <p:cNvGrpSpPr/>
          <p:nvPr/>
        </p:nvGrpSpPr>
        <p:grpSpPr>
          <a:xfrm>
            <a:off x="204074" y="225951"/>
            <a:ext cx="3248812" cy="2560320"/>
            <a:chOff x="4023361" y="309549"/>
            <a:chExt cx="3248812" cy="2560320"/>
          </a:xfrm>
        </p:grpSpPr>
        <p:sp>
          <p:nvSpPr>
            <p:cNvPr id="11" name="Rechteck 10">
              <a:extLst>
                <a:ext uri="{FF2B5EF4-FFF2-40B4-BE49-F238E27FC236}">
                  <a16:creationId xmlns:a16="http://schemas.microsoft.com/office/drawing/2014/main" id="{309A1E16-95E3-4370-9DC8-69CD2AE8DBE1}"/>
                </a:ext>
              </a:extLst>
            </p:cNvPr>
            <p:cNvSpPr/>
            <p:nvPr/>
          </p:nvSpPr>
          <p:spPr>
            <a:xfrm>
              <a:off x="4023361" y="309549"/>
              <a:ext cx="3248812" cy="256032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sp>
          <p:nvSpPr>
            <p:cNvPr id="12" name="Inhaltsplatzhalter 9">
              <a:extLst>
                <a:ext uri="{FF2B5EF4-FFF2-40B4-BE49-F238E27FC236}">
                  <a16:creationId xmlns:a16="http://schemas.microsoft.com/office/drawing/2014/main" id="{3B7A8224-389F-4583-A800-61BBC2F34F91}"/>
                </a:ext>
              </a:extLst>
            </p:cNvPr>
            <p:cNvSpPr txBox="1">
              <a:spLocks/>
            </p:cNvSpPr>
            <p:nvPr/>
          </p:nvSpPr>
          <p:spPr>
            <a:xfrm>
              <a:off x="4173970" y="435547"/>
              <a:ext cx="2947594" cy="2369880"/>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400" dirty="0">
                  <a:solidFill>
                    <a:schemeClr val="bg1"/>
                  </a:solidFill>
                  <a:latin typeface="+mj-lt"/>
                  <a:ea typeface="+mj-ea"/>
                  <a:cs typeface="+mj-cs"/>
                </a:rPr>
                <a:t>3 |</a:t>
              </a:r>
            </a:p>
            <a:p>
              <a:r>
                <a:rPr lang="de-DE" sz="2400" dirty="0">
                  <a:solidFill>
                    <a:schemeClr val="bg1"/>
                  </a:solidFill>
                  <a:latin typeface="+mj-lt"/>
                  <a:ea typeface="+mj-ea"/>
                  <a:cs typeface="+mj-cs"/>
                </a:rPr>
                <a:t>The most widely felt HR challenges to international expansion are compliance and recruitment</a:t>
              </a:r>
            </a:p>
          </p:txBody>
        </p:sp>
      </p:grpSp>
      <p:pic>
        <p:nvPicPr>
          <p:cNvPr id="3" name="Picture 2">
            <a:extLst>
              <a:ext uri="{FF2B5EF4-FFF2-40B4-BE49-F238E27FC236}">
                <a16:creationId xmlns:a16="http://schemas.microsoft.com/office/drawing/2014/main" id="{1FDD2A19-B4B9-4A1B-87AE-A1D256F2946E}"/>
              </a:ext>
            </a:extLst>
          </p:cNvPr>
          <p:cNvPicPr>
            <a:picLocks noChangeAspect="1"/>
          </p:cNvPicPr>
          <p:nvPr/>
        </p:nvPicPr>
        <p:blipFill rotWithShape="1">
          <a:blip r:embed="rId4"/>
          <a:srcRect t="17563" b="6773"/>
          <a:stretch/>
        </p:blipFill>
        <p:spPr>
          <a:xfrm>
            <a:off x="2963471" y="2837100"/>
            <a:ext cx="6042314" cy="2175157"/>
          </a:xfrm>
          <a:prstGeom prst="rect">
            <a:avLst/>
          </a:prstGeom>
        </p:spPr>
      </p:pic>
      <p:pic>
        <p:nvPicPr>
          <p:cNvPr id="10" name="Grafik 3">
            <a:extLst>
              <a:ext uri="{FF2B5EF4-FFF2-40B4-BE49-F238E27FC236}">
                <a16:creationId xmlns:a16="http://schemas.microsoft.com/office/drawing/2014/main" id="{53AD6E7D-AEA7-43CC-B373-8B20D991659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84234" y="4619083"/>
            <a:ext cx="627587" cy="285760"/>
          </a:xfrm>
          <a:prstGeom prst="rect">
            <a:avLst/>
          </a:prstGeom>
        </p:spPr>
      </p:pic>
    </p:spTree>
    <p:extLst>
      <p:ext uri="{BB962C8B-B14F-4D97-AF65-F5344CB8AC3E}">
        <p14:creationId xmlns:p14="http://schemas.microsoft.com/office/powerpoint/2010/main" val="3599513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E9BCB892-F08D-4AA3-BBB5-8E477276BC53}"/>
              </a:ext>
            </a:extLst>
          </p:cNvPr>
          <p:cNvPicPr>
            <a:picLocks noChangeAspect="1"/>
          </p:cNvPicPr>
          <p:nvPr/>
        </p:nvPicPr>
        <p:blipFill rotWithShape="1">
          <a:blip r:embed="rId3"/>
          <a:srcRect t="2910" b="2912"/>
          <a:stretch/>
        </p:blipFill>
        <p:spPr>
          <a:xfrm>
            <a:off x="0" y="-1"/>
            <a:ext cx="9144000" cy="5143501"/>
          </a:xfrm>
          <a:prstGeom prst="rect">
            <a:avLst/>
          </a:prstGeom>
        </p:spPr>
      </p:pic>
      <p:sp>
        <p:nvSpPr>
          <p:cNvPr id="2" name="Foliennummernplatzhalter 1">
            <a:extLst>
              <a:ext uri="{FF2B5EF4-FFF2-40B4-BE49-F238E27FC236}">
                <a16:creationId xmlns:a16="http://schemas.microsoft.com/office/drawing/2014/main" id="{0908A1BE-7F55-4B83-A0BB-41C726A8FBB9}"/>
              </a:ext>
            </a:extLst>
          </p:cNvPr>
          <p:cNvSpPr>
            <a:spLocks noGrp="1"/>
          </p:cNvSpPr>
          <p:nvPr>
            <p:ph type="sldNum" sz="quarter" idx="14"/>
          </p:nvPr>
        </p:nvSpPr>
        <p:spPr/>
        <p:txBody>
          <a:bodyPr/>
          <a:lstStyle/>
          <a:p>
            <a:fld id="{0C691DA3-4ABE-49F3-91E6-D9975CC9DD5F}" type="slidenum">
              <a:rPr lang="en-US" smtClean="0"/>
              <a:pPr/>
              <a:t>7</a:t>
            </a:fld>
            <a:endParaRPr lang="en-US" dirty="0"/>
          </a:p>
        </p:txBody>
      </p:sp>
      <p:grpSp>
        <p:nvGrpSpPr>
          <p:cNvPr id="9" name="Gruppieren 8">
            <a:extLst>
              <a:ext uri="{FF2B5EF4-FFF2-40B4-BE49-F238E27FC236}">
                <a16:creationId xmlns:a16="http://schemas.microsoft.com/office/drawing/2014/main" id="{7FE97C7C-AA5C-478D-BC83-0C2B276D4F51}"/>
              </a:ext>
            </a:extLst>
          </p:cNvPr>
          <p:cNvGrpSpPr/>
          <p:nvPr/>
        </p:nvGrpSpPr>
        <p:grpSpPr>
          <a:xfrm>
            <a:off x="398034" y="2313366"/>
            <a:ext cx="3248812" cy="2560320"/>
            <a:chOff x="4023361" y="309549"/>
            <a:chExt cx="3248812" cy="2560320"/>
          </a:xfrm>
        </p:grpSpPr>
        <p:sp>
          <p:nvSpPr>
            <p:cNvPr id="11" name="Rechteck 10">
              <a:extLst>
                <a:ext uri="{FF2B5EF4-FFF2-40B4-BE49-F238E27FC236}">
                  <a16:creationId xmlns:a16="http://schemas.microsoft.com/office/drawing/2014/main" id="{309A1E16-95E3-4370-9DC8-69CD2AE8DBE1}"/>
                </a:ext>
              </a:extLst>
            </p:cNvPr>
            <p:cNvSpPr/>
            <p:nvPr/>
          </p:nvSpPr>
          <p:spPr>
            <a:xfrm>
              <a:off x="4023361" y="309549"/>
              <a:ext cx="3248812" cy="256032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sp>
          <p:nvSpPr>
            <p:cNvPr id="12" name="Inhaltsplatzhalter 9">
              <a:extLst>
                <a:ext uri="{FF2B5EF4-FFF2-40B4-BE49-F238E27FC236}">
                  <a16:creationId xmlns:a16="http://schemas.microsoft.com/office/drawing/2014/main" id="{3B7A8224-389F-4583-A800-61BBC2F34F91}"/>
                </a:ext>
              </a:extLst>
            </p:cNvPr>
            <p:cNvSpPr txBox="1">
              <a:spLocks/>
            </p:cNvSpPr>
            <p:nvPr/>
          </p:nvSpPr>
          <p:spPr>
            <a:xfrm>
              <a:off x="4173970" y="435547"/>
              <a:ext cx="2947594" cy="2000548"/>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dirty="0">
                  <a:solidFill>
                    <a:schemeClr val="bg1"/>
                  </a:solidFill>
                  <a:latin typeface="+mj-lt"/>
                  <a:ea typeface="+mj-ea"/>
                  <a:cs typeface="+mj-cs"/>
                </a:rPr>
                <a:t>4 |</a:t>
              </a:r>
            </a:p>
            <a:p>
              <a:r>
                <a:rPr lang="de-DE" sz="2000" dirty="0">
                  <a:solidFill>
                    <a:schemeClr val="bg1"/>
                  </a:solidFill>
                  <a:latin typeface="+mj-lt"/>
                  <a:ea typeface="+mj-ea"/>
                  <a:cs typeface="+mj-cs"/>
                </a:rPr>
                <a:t>Large </a:t>
              </a:r>
              <a:r>
                <a:rPr lang="de-DE" sz="2000" dirty="0" err="1">
                  <a:solidFill>
                    <a:schemeClr val="bg1"/>
                  </a:solidFill>
                  <a:latin typeface="+mj-lt"/>
                  <a:ea typeface="+mj-ea"/>
                  <a:cs typeface="+mj-cs"/>
                </a:rPr>
                <a:t>companies</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are</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more</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likely</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to</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expand</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through</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mergers</a:t>
              </a:r>
              <a:r>
                <a:rPr lang="de-DE" sz="2000" dirty="0">
                  <a:solidFill>
                    <a:schemeClr val="bg1"/>
                  </a:solidFill>
                  <a:latin typeface="+mj-lt"/>
                  <a:ea typeface="+mj-ea"/>
                  <a:cs typeface="+mj-cs"/>
                </a:rPr>
                <a:t> and </a:t>
              </a:r>
              <a:r>
                <a:rPr lang="de-DE" sz="2000" dirty="0" err="1">
                  <a:solidFill>
                    <a:schemeClr val="bg1"/>
                  </a:solidFill>
                  <a:latin typeface="+mj-lt"/>
                  <a:ea typeface="+mj-ea"/>
                  <a:cs typeface="+mj-cs"/>
                </a:rPr>
                <a:t>acquisitions</a:t>
              </a:r>
              <a:r>
                <a:rPr lang="de-DE" sz="2000" dirty="0">
                  <a:solidFill>
                    <a:schemeClr val="bg1"/>
                  </a:solidFill>
                  <a:latin typeface="+mj-lt"/>
                  <a:ea typeface="+mj-ea"/>
                  <a:cs typeface="+mj-cs"/>
                </a:rPr>
                <a:t>, and </a:t>
              </a:r>
              <a:r>
                <a:rPr lang="de-DE" sz="2000" dirty="0" err="1">
                  <a:solidFill>
                    <a:schemeClr val="bg1"/>
                  </a:solidFill>
                  <a:latin typeface="+mj-lt"/>
                  <a:ea typeface="+mj-ea"/>
                  <a:cs typeface="+mj-cs"/>
                </a:rPr>
                <a:t>encounter</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cultural</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challenges</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as</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they</a:t>
              </a:r>
              <a:r>
                <a:rPr lang="de-DE" sz="2000" dirty="0">
                  <a:solidFill>
                    <a:schemeClr val="bg1"/>
                  </a:solidFill>
                  <a:latin typeface="+mj-lt"/>
                  <a:ea typeface="+mj-ea"/>
                  <a:cs typeface="+mj-cs"/>
                </a:rPr>
                <a:t> do so.</a:t>
              </a:r>
            </a:p>
          </p:txBody>
        </p:sp>
      </p:grpSp>
      <p:pic>
        <p:nvPicPr>
          <p:cNvPr id="7" name="Grafik 3">
            <a:extLst>
              <a:ext uri="{FF2B5EF4-FFF2-40B4-BE49-F238E27FC236}">
                <a16:creationId xmlns:a16="http://schemas.microsoft.com/office/drawing/2014/main" id="{12E7BA58-A1F5-4B2C-84B3-5C3E0B4A3F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4234" y="4619083"/>
            <a:ext cx="627587" cy="285760"/>
          </a:xfrm>
          <a:prstGeom prst="rect">
            <a:avLst/>
          </a:prstGeom>
        </p:spPr>
      </p:pic>
      <p:pic>
        <p:nvPicPr>
          <p:cNvPr id="5" name="Picture 4">
            <a:extLst>
              <a:ext uri="{FF2B5EF4-FFF2-40B4-BE49-F238E27FC236}">
                <a16:creationId xmlns:a16="http://schemas.microsoft.com/office/drawing/2014/main" id="{4745C3E1-8BA4-4751-B952-75E4D4D88256}"/>
              </a:ext>
            </a:extLst>
          </p:cNvPr>
          <p:cNvPicPr>
            <a:picLocks noChangeAspect="1"/>
          </p:cNvPicPr>
          <p:nvPr/>
        </p:nvPicPr>
        <p:blipFill>
          <a:blip r:embed="rId5"/>
          <a:stretch>
            <a:fillRect/>
          </a:stretch>
        </p:blipFill>
        <p:spPr>
          <a:xfrm>
            <a:off x="4809583" y="785091"/>
            <a:ext cx="2983962" cy="3686670"/>
          </a:xfrm>
          <a:prstGeom prst="rect">
            <a:avLst/>
          </a:prstGeom>
        </p:spPr>
      </p:pic>
    </p:spTree>
    <p:extLst>
      <p:ext uri="{BB962C8B-B14F-4D97-AF65-F5344CB8AC3E}">
        <p14:creationId xmlns:p14="http://schemas.microsoft.com/office/powerpoint/2010/main" val="314499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4FE861D-A517-458A-B03E-FDDC32895BDD}"/>
              </a:ext>
            </a:extLst>
          </p:cNvPr>
          <p:cNvPicPr>
            <a:picLocks noChangeAspect="1"/>
          </p:cNvPicPr>
          <p:nvPr/>
        </p:nvPicPr>
        <p:blipFill rotWithShape="1">
          <a:blip r:embed="rId3"/>
          <a:srcRect r="18022" b="4295"/>
          <a:stretch/>
        </p:blipFill>
        <p:spPr>
          <a:xfrm>
            <a:off x="1" y="0"/>
            <a:ext cx="9144000" cy="5143500"/>
          </a:xfrm>
          <a:prstGeom prst="rect">
            <a:avLst/>
          </a:prstGeom>
        </p:spPr>
      </p:pic>
      <p:sp>
        <p:nvSpPr>
          <p:cNvPr id="2" name="Foliennummernplatzhalter 1">
            <a:extLst>
              <a:ext uri="{FF2B5EF4-FFF2-40B4-BE49-F238E27FC236}">
                <a16:creationId xmlns:a16="http://schemas.microsoft.com/office/drawing/2014/main" id="{0908A1BE-7F55-4B83-A0BB-41C726A8FBB9}"/>
              </a:ext>
            </a:extLst>
          </p:cNvPr>
          <p:cNvSpPr>
            <a:spLocks noGrp="1"/>
          </p:cNvSpPr>
          <p:nvPr>
            <p:ph type="sldNum" sz="quarter" idx="14"/>
          </p:nvPr>
        </p:nvSpPr>
        <p:spPr/>
        <p:txBody>
          <a:bodyPr/>
          <a:lstStyle/>
          <a:p>
            <a:fld id="{0C691DA3-4ABE-49F3-91E6-D9975CC9DD5F}" type="slidenum">
              <a:rPr lang="en-US" smtClean="0"/>
              <a:pPr/>
              <a:t>8</a:t>
            </a:fld>
            <a:endParaRPr lang="en-US" dirty="0"/>
          </a:p>
        </p:txBody>
      </p:sp>
      <p:grpSp>
        <p:nvGrpSpPr>
          <p:cNvPr id="9" name="Gruppieren 8">
            <a:extLst>
              <a:ext uri="{FF2B5EF4-FFF2-40B4-BE49-F238E27FC236}">
                <a16:creationId xmlns:a16="http://schemas.microsoft.com/office/drawing/2014/main" id="{7FE97C7C-AA5C-478D-BC83-0C2B276D4F51}"/>
              </a:ext>
            </a:extLst>
          </p:cNvPr>
          <p:cNvGrpSpPr/>
          <p:nvPr/>
        </p:nvGrpSpPr>
        <p:grpSpPr>
          <a:xfrm>
            <a:off x="247426" y="223726"/>
            <a:ext cx="2592594" cy="2257759"/>
            <a:chOff x="4023361" y="309549"/>
            <a:chExt cx="3248812" cy="2560320"/>
          </a:xfrm>
        </p:grpSpPr>
        <p:sp>
          <p:nvSpPr>
            <p:cNvPr id="11" name="Rechteck 10">
              <a:extLst>
                <a:ext uri="{FF2B5EF4-FFF2-40B4-BE49-F238E27FC236}">
                  <a16:creationId xmlns:a16="http://schemas.microsoft.com/office/drawing/2014/main" id="{309A1E16-95E3-4370-9DC8-69CD2AE8DBE1}"/>
                </a:ext>
              </a:extLst>
            </p:cNvPr>
            <p:cNvSpPr/>
            <p:nvPr/>
          </p:nvSpPr>
          <p:spPr>
            <a:xfrm>
              <a:off x="4023361" y="309549"/>
              <a:ext cx="3248812" cy="2560320"/>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de-DE" sz="1100">
                <a:solidFill>
                  <a:schemeClr val="tx1"/>
                </a:solidFill>
              </a:endParaRPr>
            </a:p>
          </p:txBody>
        </p:sp>
        <p:sp>
          <p:nvSpPr>
            <p:cNvPr id="12" name="Inhaltsplatzhalter 9">
              <a:extLst>
                <a:ext uri="{FF2B5EF4-FFF2-40B4-BE49-F238E27FC236}">
                  <a16:creationId xmlns:a16="http://schemas.microsoft.com/office/drawing/2014/main" id="{3B7A8224-389F-4583-A800-61BBC2F34F91}"/>
                </a:ext>
              </a:extLst>
            </p:cNvPr>
            <p:cNvSpPr txBox="1">
              <a:spLocks/>
            </p:cNvSpPr>
            <p:nvPr/>
          </p:nvSpPr>
          <p:spPr>
            <a:xfrm>
              <a:off x="4173970" y="545340"/>
              <a:ext cx="2947594" cy="1919618"/>
            </a:xfrm>
            <a:prstGeom prst="rect">
              <a:avLst/>
            </a:prstGeom>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de-DE" sz="2000" dirty="0">
                  <a:solidFill>
                    <a:schemeClr val="bg1"/>
                  </a:solidFill>
                  <a:latin typeface="+mj-lt"/>
                  <a:ea typeface="+mj-ea"/>
                  <a:cs typeface="+mj-cs"/>
                </a:rPr>
                <a:t>5 |</a:t>
              </a:r>
            </a:p>
            <a:p>
              <a:r>
                <a:rPr lang="de-DE" sz="2000" dirty="0">
                  <a:solidFill>
                    <a:schemeClr val="bg1"/>
                  </a:solidFill>
                  <a:latin typeface="+mj-lt"/>
                  <a:ea typeface="+mj-ea"/>
                  <a:cs typeface="+mj-cs"/>
                </a:rPr>
                <a:t>International </a:t>
              </a:r>
              <a:r>
                <a:rPr lang="de-DE" sz="2000" dirty="0" err="1">
                  <a:solidFill>
                    <a:schemeClr val="bg1"/>
                  </a:solidFill>
                  <a:latin typeface="+mj-lt"/>
                  <a:ea typeface="+mj-ea"/>
                  <a:cs typeface="+mj-cs"/>
                </a:rPr>
                <a:t>expansion</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is</a:t>
              </a:r>
              <a:r>
                <a:rPr lang="de-DE" sz="2000" dirty="0">
                  <a:solidFill>
                    <a:schemeClr val="bg1"/>
                  </a:solidFill>
                  <a:latin typeface="+mj-lt"/>
                  <a:ea typeface="+mj-ea"/>
                  <a:cs typeface="+mj-cs"/>
                </a:rPr>
                <a:t> an </a:t>
              </a:r>
              <a:r>
                <a:rPr lang="de-DE" sz="2000" dirty="0" err="1">
                  <a:solidFill>
                    <a:schemeClr val="bg1"/>
                  </a:solidFill>
                  <a:latin typeface="+mj-lt"/>
                  <a:ea typeface="+mj-ea"/>
                  <a:cs typeface="+mj-cs"/>
                </a:rPr>
                <a:t>opportunity</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to</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make</a:t>
              </a:r>
              <a:r>
                <a:rPr lang="de-DE" sz="2000" dirty="0">
                  <a:solidFill>
                    <a:schemeClr val="bg1"/>
                  </a:solidFill>
                  <a:latin typeface="+mj-lt"/>
                  <a:ea typeface="+mj-ea"/>
                  <a:cs typeface="+mj-cs"/>
                </a:rPr>
                <a:t> a </a:t>
              </a:r>
              <a:r>
                <a:rPr lang="de-DE" sz="2000" dirty="0" err="1">
                  <a:solidFill>
                    <a:schemeClr val="bg1"/>
                  </a:solidFill>
                  <a:latin typeface="+mj-lt"/>
                  <a:ea typeface="+mj-ea"/>
                  <a:cs typeface="+mj-cs"/>
                </a:rPr>
                <a:t>strategic</a:t>
              </a:r>
              <a:r>
                <a:rPr lang="de-DE" sz="2000" dirty="0">
                  <a:solidFill>
                    <a:schemeClr val="bg1"/>
                  </a:solidFill>
                  <a:latin typeface="+mj-lt"/>
                  <a:ea typeface="+mj-ea"/>
                  <a:cs typeface="+mj-cs"/>
                </a:rPr>
                <a:t> </a:t>
              </a:r>
              <a:r>
                <a:rPr lang="de-DE" sz="2000" dirty="0" err="1">
                  <a:solidFill>
                    <a:schemeClr val="bg1"/>
                  </a:solidFill>
                  <a:latin typeface="+mj-lt"/>
                  <a:ea typeface="+mj-ea"/>
                  <a:cs typeface="+mj-cs"/>
                </a:rPr>
                <a:t>contribution</a:t>
              </a:r>
              <a:r>
                <a:rPr lang="de-DE" sz="2000" dirty="0">
                  <a:solidFill>
                    <a:schemeClr val="bg1"/>
                  </a:solidFill>
                  <a:latin typeface="+mj-lt"/>
                  <a:ea typeface="+mj-ea"/>
                  <a:cs typeface="+mj-cs"/>
                </a:rPr>
                <a:t>.</a:t>
              </a:r>
            </a:p>
          </p:txBody>
        </p:sp>
      </p:grpSp>
      <p:pic>
        <p:nvPicPr>
          <p:cNvPr id="8" name="Grafik 3">
            <a:extLst>
              <a:ext uri="{FF2B5EF4-FFF2-40B4-BE49-F238E27FC236}">
                <a16:creationId xmlns:a16="http://schemas.microsoft.com/office/drawing/2014/main" id="{D7EC8924-2FEC-4291-9D0D-228C297547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4234" y="4619083"/>
            <a:ext cx="627587" cy="285760"/>
          </a:xfrm>
          <a:prstGeom prst="rect">
            <a:avLst/>
          </a:prstGeom>
        </p:spPr>
      </p:pic>
      <p:sp>
        <p:nvSpPr>
          <p:cNvPr id="16" name="Rectangle 15">
            <a:extLst>
              <a:ext uri="{FF2B5EF4-FFF2-40B4-BE49-F238E27FC236}">
                <a16:creationId xmlns:a16="http://schemas.microsoft.com/office/drawing/2014/main" id="{7BCF3A46-5D9A-4EDD-80C2-628BAA76FC60}"/>
              </a:ext>
            </a:extLst>
          </p:cNvPr>
          <p:cNvSpPr/>
          <p:nvPr/>
        </p:nvSpPr>
        <p:spPr>
          <a:xfrm>
            <a:off x="3232728" y="1561898"/>
            <a:ext cx="4923798" cy="2383204"/>
          </a:xfrm>
          <a:prstGeom prst="rect">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GB" sz="1200">
              <a:solidFill>
                <a:schemeClr val="tx1"/>
              </a:solidFill>
            </a:endParaRPr>
          </a:p>
        </p:txBody>
      </p:sp>
      <p:sp>
        <p:nvSpPr>
          <p:cNvPr id="14" name="Inhaltsplatzhalter 9">
            <a:extLst>
              <a:ext uri="{FF2B5EF4-FFF2-40B4-BE49-F238E27FC236}">
                <a16:creationId xmlns:a16="http://schemas.microsoft.com/office/drawing/2014/main" id="{70A27405-5231-43BF-9B04-97802FE50FCD}"/>
              </a:ext>
            </a:extLst>
          </p:cNvPr>
          <p:cNvSpPr txBox="1">
            <a:spLocks/>
          </p:cNvSpPr>
          <p:nvPr/>
        </p:nvSpPr>
        <p:spPr>
          <a:xfrm>
            <a:off x="3470362" y="1902463"/>
            <a:ext cx="4448530" cy="1754326"/>
          </a:xfrm>
          <a:prstGeom prst="rect">
            <a:avLst/>
          </a:prstGeom>
          <a:noFill/>
        </p:spPr>
        <p:txBody>
          <a:bodyPr vert="horz" wrap="square" lIns="0" tIns="0" rIns="0" bIns="0" rtlCol="0">
            <a:spAutoFit/>
          </a:bodyPr>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600" dirty="0">
                <a:solidFill>
                  <a:schemeClr val="accent6"/>
                </a:solidFill>
              </a:rPr>
              <a:t>The experience of interviewees and insights from the survey provide some guidance on how this can be achieved: </a:t>
            </a:r>
          </a:p>
          <a:p>
            <a:pPr marL="285750" indent="-285750">
              <a:spcAft>
                <a:spcPts val="0"/>
              </a:spcAft>
              <a:buFont typeface="Wingdings" panose="05000000000000000000" pitchFamily="2" charset="2"/>
              <a:buChar char="§"/>
              <a:defRPr/>
            </a:pPr>
            <a:r>
              <a:rPr lang="en-US" sz="1400" dirty="0">
                <a:solidFill>
                  <a:schemeClr val="accent6"/>
                </a:solidFill>
              </a:rPr>
              <a:t>Equip your company with specialist skills &amp; experience</a:t>
            </a:r>
          </a:p>
          <a:p>
            <a:pPr marL="285750" indent="-285750">
              <a:spcAft>
                <a:spcPts val="0"/>
              </a:spcAft>
              <a:buFont typeface="Wingdings" panose="05000000000000000000" pitchFamily="2" charset="2"/>
              <a:buChar char="§"/>
              <a:defRPr/>
            </a:pPr>
            <a:r>
              <a:rPr lang="en-US" sz="1400" dirty="0">
                <a:solidFill>
                  <a:schemeClr val="accent6"/>
                </a:solidFill>
              </a:rPr>
              <a:t>Assert the strategic role of HR in expansion</a:t>
            </a:r>
          </a:p>
          <a:p>
            <a:pPr marL="285750" indent="-285750">
              <a:spcAft>
                <a:spcPts val="0"/>
              </a:spcAft>
              <a:buFont typeface="Wingdings" panose="05000000000000000000" pitchFamily="2" charset="2"/>
              <a:buChar char="§"/>
              <a:defRPr/>
            </a:pPr>
            <a:r>
              <a:rPr lang="en-US" sz="1400" dirty="0">
                <a:solidFill>
                  <a:schemeClr val="accent6"/>
                </a:solidFill>
              </a:rPr>
              <a:t>Let technology lead the way in process integration</a:t>
            </a:r>
          </a:p>
          <a:p>
            <a:pPr marL="285750" indent="-285750">
              <a:spcAft>
                <a:spcPts val="0"/>
              </a:spcAft>
              <a:buFont typeface="Wingdings" panose="05000000000000000000" pitchFamily="2" charset="2"/>
              <a:buChar char="§"/>
              <a:defRPr/>
            </a:pPr>
            <a:r>
              <a:rPr lang="en-US" sz="1400" dirty="0">
                <a:solidFill>
                  <a:schemeClr val="accent6"/>
                </a:solidFill>
              </a:rPr>
              <a:t>Build a culture of diversity</a:t>
            </a:r>
            <a:endParaRPr lang="de-DE" sz="1400" dirty="0">
              <a:solidFill>
                <a:schemeClr val="accent6"/>
              </a:solidFill>
            </a:endParaRPr>
          </a:p>
        </p:txBody>
      </p:sp>
    </p:spTree>
    <p:extLst>
      <p:ext uri="{BB962C8B-B14F-4D97-AF65-F5344CB8AC3E}">
        <p14:creationId xmlns:p14="http://schemas.microsoft.com/office/powerpoint/2010/main" val="405440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E8B7ED-945E-C746-89A4-3EC771219B78}"/>
              </a:ext>
            </a:extLst>
          </p:cNvPr>
          <p:cNvSpPr>
            <a:spLocks noGrp="1"/>
          </p:cNvSpPr>
          <p:nvPr>
            <p:ph type="sldNum" sz="quarter" idx="14"/>
          </p:nvPr>
        </p:nvSpPr>
        <p:spPr/>
        <p:txBody>
          <a:bodyPr/>
          <a:lstStyle/>
          <a:p>
            <a:fld id="{0C691DA3-4ABE-49F3-91E6-D9975CC9DD5F}" type="slidenum">
              <a:rPr lang="en-US" smtClean="0"/>
              <a:pPr/>
              <a:t>9</a:t>
            </a:fld>
            <a:endParaRPr lang="en-US" dirty="0"/>
          </a:p>
        </p:txBody>
      </p:sp>
      <p:sp>
        <p:nvSpPr>
          <p:cNvPr id="8" name="Title 7">
            <a:extLst>
              <a:ext uri="{FF2B5EF4-FFF2-40B4-BE49-F238E27FC236}">
                <a16:creationId xmlns:a16="http://schemas.microsoft.com/office/drawing/2014/main" id="{659B815B-99F1-B043-83E7-E052E7E83032}"/>
              </a:ext>
            </a:extLst>
          </p:cNvPr>
          <p:cNvSpPr>
            <a:spLocks noGrp="1"/>
          </p:cNvSpPr>
          <p:nvPr>
            <p:ph type="title"/>
          </p:nvPr>
        </p:nvSpPr>
        <p:spPr/>
        <p:txBody>
          <a:bodyPr/>
          <a:lstStyle/>
          <a:p>
            <a:r>
              <a:rPr lang="en-BE" dirty="0"/>
              <a:t>A</a:t>
            </a:r>
            <a:r>
              <a:rPr lang="en-GB" dirty="0"/>
              <a:t>DP</a:t>
            </a:r>
            <a:r>
              <a:rPr lang="en-BE" dirty="0"/>
              <a:t> and Economist Report</a:t>
            </a:r>
          </a:p>
        </p:txBody>
      </p:sp>
      <p:sp>
        <p:nvSpPr>
          <p:cNvPr id="10" name="Content Placeholder 9">
            <a:extLst>
              <a:ext uri="{FF2B5EF4-FFF2-40B4-BE49-F238E27FC236}">
                <a16:creationId xmlns:a16="http://schemas.microsoft.com/office/drawing/2014/main" id="{89F780B7-9493-2B42-8E73-4ECCF57B3A0F}"/>
              </a:ext>
            </a:extLst>
          </p:cNvPr>
          <p:cNvSpPr>
            <a:spLocks noGrp="1"/>
          </p:cNvSpPr>
          <p:nvPr>
            <p:ph sz="quarter" idx="4294967295"/>
          </p:nvPr>
        </p:nvSpPr>
        <p:spPr>
          <a:xfrm>
            <a:off x="5026025" y="1435100"/>
            <a:ext cx="4117975" cy="3200400"/>
          </a:xfrm>
        </p:spPr>
        <p:txBody>
          <a:bodyPr/>
          <a:lstStyle/>
          <a:p>
            <a:r>
              <a:rPr lang="de-DE" sz="2000">
                <a:solidFill>
                  <a:schemeClr val="accent5"/>
                </a:solidFill>
                <a:latin typeface="+mj-lt"/>
                <a:ea typeface="+mj-ea"/>
                <a:cs typeface="+mj-cs"/>
              </a:rPr>
              <a:t>Learn</a:t>
            </a:r>
            <a:r>
              <a:rPr lang="de-DE" sz="2000" dirty="0">
                <a:solidFill>
                  <a:schemeClr val="accent5"/>
                </a:solidFill>
                <a:latin typeface="+mj-lt"/>
                <a:ea typeface="+mj-ea"/>
                <a:cs typeface="+mj-cs"/>
              </a:rPr>
              <a:t> </a:t>
            </a:r>
            <a:r>
              <a:rPr lang="de-DE" sz="2000" dirty="0" err="1">
                <a:solidFill>
                  <a:schemeClr val="accent5"/>
                </a:solidFill>
                <a:latin typeface="+mj-lt"/>
                <a:ea typeface="+mj-ea"/>
                <a:cs typeface="+mj-cs"/>
              </a:rPr>
              <a:t>more</a:t>
            </a:r>
            <a:r>
              <a:rPr lang="de-DE" sz="2000" dirty="0">
                <a:solidFill>
                  <a:schemeClr val="accent5"/>
                </a:solidFill>
                <a:latin typeface="+mj-lt"/>
                <a:ea typeface="+mj-ea"/>
                <a:cs typeface="+mj-cs"/>
              </a:rPr>
              <a:t>:</a:t>
            </a:r>
          </a:p>
          <a:p>
            <a:r>
              <a:rPr lang="de-DE" sz="2000" dirty="0">
                <a:solidFill>
                  <a:schemeClr val="accent5"/>
                </a:solidFill>
                <a:latin typeface="+mj-lt"/>
                <a:ea typeface="+mj-ea"/>
                <a:cs typeface="+mj-cs"/>
              </a:rPr>
              <a:t>de-</a:t>
            </a:r>
            <a:r>
              <a:rPr lang="de-DE" sz="2000" dirty="0" err="1">
                <a:solidFill>
                  <a:schemeClr val="accent5"/>
                </a:solidFill>
                <a:latin typeface="+mj-lt"/>
                <a:ea typeface="+mj-ea"/>
                <a:cs typeface="+mj-cs"/>
              </a:rPr>
              <a:t>adp.com</a:t>
            </a:r>
            <a:br>
              <a:rPr lang="de-DE" sz="1050" dirty="0">
                <a:solidFill>
                  <a:schemeClr val="bg1"/>
                </a:solidFill>
              </a:rPr>
            </a:br>
            <a:endParaRPr lang="de-DE" sz="1050" dirty="0">
              <a:solidFill>
                <a:schemeClr val="bg1"/>
              </a:solidFill>
            </a:endParaRPr>
          </a:p>
          <a:p>
            <a:r>
              <a:rPr lang="de-DE" sz="2000" dirty="0" err="1">
                <a:solidFill>
                  <a:schemeClr val="accent5"/>
                </a:solidFill>
                <a:latin typeface="+mj-lt"/>
                <a:ea typeface="+mj-ea"/>
                <a:cs typeface="+mj-cs"/>
              </a:rPr>
              <a:t>Get</a:t>
            </a:r>
            <a:r>
              <a:rPr lang="de-DE" sz="2000" dirty="0">
                <a:solidFill>
                  <a:schemeClr val="accent5"/>
                </a:solidFill>
                <a:latin typeface="+mj-lt"/>
                <a:ea typeface="+mj-ea"/>
                <a:cs typeface="+mj-cs"/>
              </a:rPr>
              <a:t> a </a:t>
            </a:r>
            <a:r>
              <a:rPr lang="de-DE" sz="2000" dirty="0" err="1">
                <a:solidFill>
                  <a:schemeClr val="accent5"/>
                </a:solidFill>
                <a:latin typeface="+mj-lt"/>
                <a:ea typeface="+mj-ea"/>
                <a:cs typeface="+mj-cs"/>
              </a:rPr>
              <a:t>copy</a:t>
            </a:r>
            <a:r>
              <a:rPr lang="de-DE" sz="2000" dirty="0">
                <a:solidFill>
                  <a:schemeClr val="accent5"/>
                </a:solidFill>
                <a:latin typeface="+mj-lt"/>
                <a:ea typeface="+mj-ea"/>
                <a:cs typeface="+mj-cs"/>
              </a:rPr>
              <a:t> </a:t>
            </a:r>
            <a:r>
              <a:rPr lang="de-DE" sz="2000" dirty="0" err="1">
                <a:solidFill>
                  <a:schemeClr val="accent5"/>
                </a:solidFill>
                <a:latin typeface="+mj-lt"/>
                <a:ea typeface="+mj-ea"/>
                <a:cs typeface="+mj-cs"/>
              </a:rPr>
              <a:t>of</a:t>
            </a:r>
            <a:r>
              <a:rPr lang="de-DE" sz="2000" dirty="0">
                <a:solidFill>
                  <a:schemeClr val="accent5"/>
                </a:solidFill>
                <a:latin typeface="+mj-lt"/>
                <a:ea typeface="+mj-ea"/>
                <a:cs typeface="+mj-cs"/>
              </a:rPr>
              <a:t> </a:t>
            </a:r>
            <a:r>
              <a:rPr lang="de-DE" sz="2000" dirty="0" err="1">
                <a:solidFill>
                  <a:schemeClr val="accent5"/>
                </a:solidFill>
                <a:latin typeface="+mj-lt"/>
                <a:ea typeface="+mj-ea"/>
                <a:cs typeface="+mj-cs"/>
              </a:rPr>
              <a:t>the</a:t>
            </a:r>
            <a:r>
              <a:rPr lang="de-DE" sz="2000" dirty="0">
                <a:solidFill>
                  <a:schemeClr val="accent5"/>
                </a:solidFill>
                <a:latin typeface="+mj-lt"/>
                <a:ea typeface="+mj-ea"/>
                <a:cs typeface="+mj-cs"/>
              </a:rPr>
              <a:t> </a:t>
            </a:r>
            <a:r>
              <a:rPr lang="de-DE" sz="2000" dirty="0" err="1">
                <a:solidFill>
                  <a:schemeClr val="accent5"/>
                </a:solidFill>
                <a:latin typeface="+mj-lt"/>
                <a:ea typeface="+mj-ea"/>
                <a:cs typeface="+mj-cs"/>
              </a:rPr>
              <a:t>report</a:t>
            </a:r>
            <a:r>
              <a:rPr lang="de-DE" sz="2000" dirty="0">
                <a:solidFill>
                  <a:schemeClr val="accent5"/>
                </a:solidFill>
                <a:latin typeface="+mj-lt"/>
                <a:ea typeface="+mj-ea"/>
                <a:cs typeface="+mj-cs"/>
              </a:rPr>
              <a:t> at:</a:t>
            </a:r>
          </a:p>
          <a:p>
            <a:r>
              <a:rPr lang="de-DE" sz="2000" dirty="0" err="1">
                <a:solidFill>
                  <a:schemeClr val="accent5"/>
                </a:solidFill>
                <a:latin typeface="+mj-lt"/>
                <a:ea typeface="+mj-ea"/>
                <a:cs typeface="+mj-cs"/>
              </a:rPr>
              <a:t>www.adpinfo.com</a:t>
            </a:r>
            <a:r>
              <a:rPr lang="de-DE" sz="2000" dirty="0">
                <a:solidFill>
                  <a:schemeClr val="accent5"/>
                </a:solidFill>
                <a:latin typeface="+mj-lt"/>
                <a:ea typeface="+mj-ea"/>
                <a:cs typeface="+mj-cs"/>
              </a:rPr>
              <a:t>/EIU-report-2020</a:t>
            </a:r>
          </a:p>
          <a:p>
            <a:endParaRPr lang="en-BE" dirty="0"/>
          </a:p>
        </p:txBody>
      </p:sp>
      <p:pic>
        <p:nvPicPr>
          <p:cNvPr id="11" name="Grafik 7">
            <a:extLst>
              <a:ext uri="{FF2B5EF4-FFF2-40B4-BE49-F238E27FC236}">
                <a16:creationId xmlns:a16="http://schemas.microsoft.com/office/drawing/2014/main" id="{C4789A5B-9DD1-894E-86D9-4E26EF28EA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1872" y="1435607"/>
            <a:ext cx="2044572" cy="286766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3912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9PtQ37uS1uSLPJiUgU7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GD_tj2BspRM4LbPZTtS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gdUJmHT.t0XuGu3DpMm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TCwCd59hBdlNIGn5v8k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TCwCd59hBdlNIGn5v8k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TCwCd59hBdlNIGn5v8k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ARZwuv2AeWApcjPQumm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aDp8AKhmbgmZC8cr0EP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BpDMF294DJ6fTe7zvUF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Mr2I3k0Wvh2YX7TGmHE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k3VU_Flq12.IrDx8Kpq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bADpm9TH0_aB_Yb.sVm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wv0MRlvW2ZI9y7ktkEj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visapiaPq4ugz1CiysY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qSeezLcnzWKn7RobZWP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bnV0lzpsPSZiP8nUUfV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hWBVdptav.u0RmimtHA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3X6pCBVYCneANowlY66c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v9i6rRNMKAyzxDAhDf_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YrtpsA6pZwt.fUGgr3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_lCr8FJKb2CWKP7XtdX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OU_pg0hFueiYUADnW.x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kQBhm8kJtmTsEjgqhb9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XZK2KBTbd4gJ_x92RSH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CZTDQ_Mk4ISg6TtjzQW0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Zqq_0xJjB1yJhtQyAvNn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zQKdaPeDeA1NpRkJsEC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Qlv3X5_JLGY7paO7vBWz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A1c6u1g6la1HiH2tYUmp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PGlnp5Owt7yh78ycsGJ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8Zst8uGBfL3tA3c3ZO_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2EZLnIq1S0ju5Z2Qk38c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snraNCgIG9vXwFcWmRu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BtUGLKq4mDQ0lbvFECfz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edXxCv3S_4Zvkqf9Mii0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fTQKWOPWjb3z_yY.HXnVw"/>
</p:tagLst>
</file>

<file path=ppt/theme/theme1.xml><?xml version="1.0" encoding="utf-8"?>
<a:theme xmlns:a="http://schemas.openxmlformats.org/drawingml/2006/main" name="ADP 16:9 (Blu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2.xml><?xml version="1.0" encoding="utf-8"?>
<a:theme xmlns:a="http://schemas.openxmlformats.org/drawingml/2006/main" name="ADP 16:9 (Ros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3.xml><?xml version="1.0" encoding="utf-8"?>
<a:theme xmlns:a="http://schemas.openxmlformats.org/drawingml/2006/main" name="ADP 16:9 (Tan)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4.xml><?xml version="1.0" encoding="utf-8"?>
<a:theme xmlns:a="http://schemas.openxmlformats.org/drawingml/2006/main" name="ADP 16:9 (Global)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0000"/>
          </a:lnSpc>
          <a:spcAft>
            <a:spcPts val="1800"/>
          </a:spcAft>
          <a:defRPr sz="1600" dirty="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544E86DF67C1448920B2CDB039FCA1E" ma:contentTypeVersion="12" ma:contentTypeDescription="Create a new document." ma:contentTypeScope="" ma:versionID="4068e08ee9f42032ae6feee777f437b5">
  <xsd:schema xmlns:xsd="http://www.w3.org/2001/XMLSchema" xmlns:xs="http://www.w3.org/2001/XMLSchema" xmlns:p="http://schemas.microsoft.com/office/2006/metadata/properties" xmlns:ns2="29b8850d-5b93-4276-beb6-6f0ab4eb9f9c" xmlns:ns3="b9b6d6f1-e443-4b32-9973-8fad49f517a2" targetNamespace="http://schemas.microsoft.com/office/2006/metadata/properties" ma:root="true" ma:fieldsID="21ba1f608616fd45caeb278daf80467f" ns2:_="" ns3:_="">
    <xsd:import namespace="29b8850d-5b93-4276-beb6-6f0ab4eb9f9c"/>
    <xsd:import namespace="b9b6d6f1-e443-4b32-9973-8fad49f517a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b8850d-5b93-4276-beb6-6f0ab4eb9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9b6d6f1-e443-4b32-9973-8fad49f517a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80FFE6-60F9-4AB4-BA61-44FC5498C072}">
  <ds:schemaRefs>
    <ds:schemaRef ds:uri="http://schemas.microsoft.com/sharepoint/v3/contenttype/forms"/>
  </ds:schemaRefs>
</ds:datastoreItem>
</file>

<file path=customXml/itemProps2.xml><?xml version="1.0" encoding="utf-8"?>
<ds:datastoreItem xmlns:ds="http://schemas.openxmlformats.org/officeDocument/2006/customXml" ds:itemID="{5A4AE9BB-388E-4373-B3D3-DB28EAFE0631}">
  <ds:schemaRefs>
    <ds:schemaRef ds:uri="http://schemas.microsoft.com/office/2006/documentManagement/types"/>
    <ds:schemaRef ds:uri="http://www.w3.org/XML/1998/namespace"/>
    <ds:schemaRef ds:uri="b9b6d6f1-e443-4b32-9973-8fad49f517a2"/>
    <ds:schemaRef ds:uri="http://purl.org/dc/terms/"/>
    <ds:schemaRef ds:uri="29b8850d-5b93-4276-beb6-6f0ab4eb9f9c"/>
    <ds:schemaRef ds:uri="http://purl.org/dc/dcmitype/"/>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2E0BF9B9-EA72-41AA-BB90-190A9037B3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b8850d-5b93-4276-beb6-6f0ab4eb9f9c"/>
    <ds:schemaRef ds:uri="b9b6d6f1-e443-4b32-9973-8fad49f517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20</TotalTime>
  <Words>692</Words>
  <Application>Microsoft Macintosh PowerPoint</Application>
  <PresentationFormat>On-screen Show (16:9)</PresentationFormat>
  <Paragraphs>70</Paragraphs>
  <Slides>9</Slides>
  <Notes>6</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Taub Sans</vt:lpstr>
      <vt:lpstr>Wingdings</vt:lpstr>
      <vt:lpstr>ADP 16:9 (Blue) | SketchDeck</vt:lpstr>
      <vt:lpstr>ADP 16:9 (Rose) | SketchDeck</vt:lpstr>
      <vt:lpstr>ADP 16:9 (Tan) | SketchDeck</vt:lpstr>
      <vt:lpstr>ADP 16:9 (Global) | SketchDec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P and Economist Re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unner;Miriam.Brunner@adp.com</dc:creator>
  <cp:lastModifiedBy>Andre Rampat</cp:lastModifiedBy>
  <cp:revision>542</cp:revision>
  <dcterms:created xsi:type="dcterms:W3CDTF">2019-04-10T19:24:31Z</dcterms:created>
  <dcterms:modified xsi:type="dcterms:W3CDTF">2020-03-20T14:0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44E86DF67C1448920B2CDB039FCA1E</vt:lpwstr>
  </property>
</Properties>
</file>